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45.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notesSlides/notesSlide3.xml" ContentType="application/vnd.openxmlformats-officedocument.presentationml.notes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41.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notesSlides/notesSlide17.xml" ContentType="application/vnd.openxmlformats-officedocument.presentationml.notesSlide+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notesSlides/notesSlide18.xml" ContentType="application/vnd.openxmlformats-officedocument.presentationml.notes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notesSlides/notesSlide14.xml" ContentType="application/vnd.openxmlformats-officedocument.presentationml.notes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slides/slide28.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notesSlides/notesSlide19.xml" ContentType="application/vnd.openxmlformats-officedocument.presentationml.notes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notesSlides/notesSlide22.xml" ContentType="application/vnd.openxmlformats-officedocument.presentationml.notes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48" r:id="rId1"/>
  </p:sldMasterIdLst>
  <p:notesMasterIdLst>
    <p:notesMasterId r:id="rId38"/>
  </p:notesMasterIdLst>
  <p:handoutMasterIdLst>
    <p:handoutMasterId r:id="rId39"/>
  </p:handoutMasterIdLst>
  <p:sldIdLst>
    <p:sldId id="257" r:id="rId2"/>
    <p:sldId id="600" r:id="rId3"/>
    <p:sldId id="622" r:id="rId4"/>
    <p:sldId id="577" r:id="rId5"/>
    <p:sldId id="601" r:id="rId6"/>
    <p:sldId id="602" r:id="rId7"/>
    <p:sldId id="537" r:id="rId8"/>
    <p:sldId id="578" r:id="rId9"/>
    <p:sldId id="538" r:id="rId10"/>
    <p:sldId id="570" r:id="rId11"/>
    <p:sldId id="554" r:id="rId12"/>
    <p:sldId id="540" r:id="rId13"/>
    <p:sldId id="581" r:id="rId14"/>
    <p:sldId id="607" r:id="rId15"/>
    <p:sldId id="608" r:id="rId16"/>
    <p:sldId id="609" r:id="rId17"/>
    <p:sldId id="610" r:id="rId18"/>
    <p:sldId id="611" r:id="rId19"/>
    <p:sldId id="612" r:id="rId20"/>
    <p:sldId id="599" r:id="rId21"/>
    <p:sldId id="620" r:id="rId22"/>
    <p:sldId id="621" r:id="rId23"/>
    <p:sldId id="588" r:id="rId24"/>
    <p:sldId id="587" r:id="rId25"/>
    <p:sldId id="583" r:id="rId26"/>
    <p:sldId id="596" r:id="rId27"/>
    <p:sldId id="584" r:id="rId28"/>
    <p:sldId id="613" r:id="rId29"/>
    <p:sldId id="614" r:id="rId30"/>
    <p:sldId id="615" r:id="rId31"/>
    <p:sldId id="616" r:id="rId32"/>
    <p:sldId id="617" r:id="rId33"/>
    <p:sldId id="619" r:id="rId34"/>
    <p:sldId id="477" r:id="rId35"/>
    <p:sldId id="585" r:id="rId36"/>
    <p:sldId id="483" r:id="rId37"/>
  </p:sldIdLst>
  <p:sldSz cx="9906000" cy="6858000" type="A4"/>
  <p:notesSz cx="7315200" cy="9601200"/>
  <p:defaultTextStyle>
    <a:defPPr>
      <a:defRPr lang="en-US"/>
    </a:defPPr>
    <a:lvl1pPr algn="l" rtl="0" fontAlgn="base">
      <a:spcBef>
        <a:spcPct val="0"/>
      </a:spcBef>
      <a:spcAft>
        <a:spcPct val="0"/>
      </a:spcAft>
      <a:defRPr sz="1600" kern="1200">
        <a:solidFill>
          <a:srgbClr val="000000"/>
        </a:solidFill>
        <a:latin typeface="Verdana" panose="020B0604030504040204" pitchFamily="34" charset="0"/>
        <a:ea typeface="+mn-ea"/>
        <a:cs typeface="Arial" panose="020B0604020202020204" pitchFamily="34" charset="0"/>
      </a:defRPr>
    </a:lvl1pPr>
    <a:lvl2pPr marL="457200" algn="l" rtl="0" fontAlgn="base">
      <a:spcBef>
        <a:spcPct val="0"/>
      </a:spcBef>
      <a:spcAft>
        <a:spcPct val="0"/>
      </a:spcAft>
      <a:defRPr sz="1600" kern="1200">
        <a:solidFill>
          <a:srgbClr val="000000"/>
        </a:solidFill>
        <a:latin typeface="Verdana" panose="020B0604030504040204" pitchFamily="34" charset="0"/>
        <a:ea typeface="+mn-ea"/>
        <a:cs typeface="Arial" panose="020B0604020202020204" pitchFamily="34" charset="0"/>
      </a:defRPr>
    </a:lvl2pPr>
    <a:lvl3pPr marL="914400" algn="l" rtl="0" fontAlgn="base">
      <a:spcBef>
        <a:spcPct val="0"/>
      </a:spcBef>
      <a:spcAft>
        <a:spcPct val="0"/>
      </a:spcAft>
      <a:defRPr sz="1600" kern="1200">
        <a:solidFill>
          <a:srgbClr val="000000"/>
        </a:solidFill>
        <a:latin typeface="Verdana" panose="020B0604030504040204" pitchFamily="34" charset="0"/>
        <a:ea typeface="+mn-ea"/>
        <a:cs typeface="Arial" panose="020B0604020202020204" pitchFamily="34" charset="0"/>
      </a:defRPr>
    </a:lvl3pPr>
    <a:lvl4pPr marL="1371600" algn="l" rtl="0" fontAlgn="base">
      <a:spcBef>
        <a:spcPct val="0"/>
      </a:spcBef>
      <a:spcAft>
        <a:spcPct val="0"/>
      </a:spcAft>
      <a:defRPr sz="1600" kern="1200">
        <a:solidFill>
          <a:srgbClr val="000000"/>
        </a:solidFill>
        <a:latin typeface="Verdana" panose="020B0604030504040204" pitchFamily="34" charset="0"/>
        <a:ea typeface="+mn-ea"/>
        <a:cs typeface="Arial" panose="020B0604020202020204" pitchFamily="34" charset="0"/>
      </a:defRPr>
    </a:lvl4pPr>
    <a:lvl5pPr marL="1828800" algn="l" rtl="0" fontAlgn="base">
      <a:spcBef>
        <a:spcPct val="0"/>
      </a:spcBef>
      <a:spcAft>
        <a:spcPct val="0"/>
      </a:spcAft>
      <a:defRPr sz="1600" kern="1200">
        <a:solidFill>
          <a:srgbClr val="000000"/>
        </a:solidFill>
        <a:latin typeface="Verdana" panose="020B0604030504040204" pitchFamily="34" charset="0"/>
        <a:ea typeface="+mn-ea"/>
        <a:cs typeface="Arial" panose="020B0604020202020204" pitchFamily="34" charset="0"/>
      </a:defRPr>
    </a:lvl5pPr>
    <a:lvl6pPr marL="2286000" algn="l" defTabSz="914400" rtl="0" eaLnBrk="1" latinLnBrk="0" hangingPunct="1">
      <a:defRPr sz="1600" kern="1200">
        <a:solidFill>
          <a:srgbClr val="000000"/>
        </a:solidFill>
        <a:latin typeface="Verdana" panose="020B0604030504040204" pitchFamily="34" charset="0"/>
        <a:ea typeface="+mn-ea"/>
        <a:cs typeface="Arial" panose="020B0604020202020204" pitchFamily="34" charset="0"/>
      </a:defRPr>
    </a:lvl6pPr>
    <a:lvl7pPr marL="2743200" algn="l" defTabSz="914400" rtl="0" eaLnBrk="1" latinLnBrk="0" hangingPunct="1">
      <a:defRPr sz="1600" kern="1200">
        <a:solidFill>
          <a:srgbClr val="000000"/>
        </a:solidFill>
        <a:latin typeface="Verdana" panose="020B0604030504040204" pitchFamily="34" charset="0"/>
        <a:ea typeface="+mn-ea"/>
        <a:cs typeface="Arial" panose="020B0604020202020204" pitchFamily="34" charset="0"/>
      </a:defRPr>
    </a:lvl7pPr>
    <a:lvl8pPr marL="3200400" algn="l" defTabSz="914400" rtl="0" eaLnBrk="1" latinLnBrk="0" hangingPunct="1">
      <a:defRPr sz="1600" kern="1200">
        <a:solidFill>
          <a:srgbClr val="000000"/>
        </a:solidFill>
        <a:latin typeface="Verdana" panose="020B0604030504040204" pitchFamily="34" charset="0"/>
        <a:ea typeface="+mn-ea"/>
        <a:cs typeface="Arial" panose="020B0604020202020204" pitchFamily="34" charset="0"/>
      </a:defRPr>
    </a:lvl8pPr>
    <a:lvl9pPr marL="3657600" algn="l" defTabSz="914400" rtl="0" eaLnBrk="1" latinLnBrk="0" hangingPunct="1">
      <a:defRPr sz="1600" kern="1200">
        <a:solidFill>
          <a:srgbClr val="000000"/>
        </a:solidFill>
        <a:latin typeface="Verdana" panose="020B0604030504040204" pitchFamily="34" charset="0"/>
        <a:ea typeface="+mn-ea"/>
        <a:cs typeface="Arial" panose="020B0604020202020204" pitchFamily="34" charset="0"/>
      </a:defRPr>
    </a:lvl9pPr>
  </p:defaultTextStyle>
  <p:extLst>
    <p:ext uri="{EFAFB233-063F-42B5-8137-9DF3F51BA10A}">
      <p15:sldGuideLst xmlns:p15="http://schemas.microsoft.com/office/powerpoint/2012/main" xmlns="">
        <p15:guide id="1" orient="horz" pos="521">
          <p15:clr>
            <a:srgbClr val="A4A3A4"/>
          </p15:clr>
        </p15:guide>
        <p15:guide id="2" orient="horz" pos="2160">
          <p15:clr>
            <a:srgbClr val="A4A3A4"/>
          </p15:clr>
        </p15:guide>
        <p15:guide id="3" pos="1733">
          <p15:clr>
            <a:srgbClr val="A4A3A4"/>
          </p15:clr>
        </p15:guide>
        <p15:guide id="4" pos="5960">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0"/>
      </p:ext>
    </p:extLst>
  </p:showPr>
  <p:clrMru>
    <a:srgbClr val="000099"/>
    <a:srgbClr val="000066"/>
    <a:srgbClr val="FFFFFF"/>
    <a:srgbClr val="C9C9FF"/>
    <a:srgbClr val="7295DC"/>
    <a:srgbClr val="6699FF"/>
    <a:srgbClr val="003399"/>
    <a:srgbClr val="FFFF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74" autoAdjust="0"/>
    <p:restoredTop sz="91723" autoAdjust="0"/>
  </p:normalViewPr>
  <p:slideViewPr>
    <p:cSldViewPr snapToGrid="0">
      <p:cViewPr>
        <p:scale>
          <a:sx n="74" d="100"/>
          <a:sy n="74" d="100"/>
        </p:scale>
        <p:origin x="-1830" y="-474"/>
      </p:cViewPr>
      <p:guideLst>
        <p:guide orient="horz" pos="521"/>
        <p:guide orient="horz" pos="2160"/>
        <p:guide pos="1733"/>
        <p:guide pos="59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9" d="100"/>
        <a:sy n="69" d="100"/>
      </p:scale>
      <p:origin x="0" y="0"/>
    </p:cViewPr>
  </p:sorterViewPr>
  <p:notesViewPr>
    <p:cSldViewPr snapToGrid="0">
      <p:cViewPr>
        <p:scale>
          <a:sx n="200" d="100"/>
          <a:sy n="200" d="100"/>
        </p:scale>
        <p:origin x="-72" y="7902"/>
      </p:cViewPr>
      <p:guideLst>
        <p:guide orient="horz" pos="3024"/>
        <p:guide pos="2304"/>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658" name="Text Box 6"/>
          <p:cNvSpPr txBox="1">
            <a:spLocks noChangeArrowheads="1"/>
          </p:cNvSpPr>
          <p:nvPr/>
        </p:nvSpPr>
        <p:spPr bwMode="auto">
          <a:xfrm>
            <a:off x="0" y="9361488"/>
            <a:ext cx="2874963" cy="250825"/>
          </a:xfrm>
          <a:prstGeom prst="rect">
            <a:avLst/>
          </a:prstGeom>
          <a:noFill/>
          <a:ln>
            <a:noFill/>
          </a:ln>
          <a:extLst/>
        </p:spPr>
        <p:txBody>
          <a:bodyPr wrap="none" lIns="96661" tIns="48331" rIns="96661" bIns="48331">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defRPr/>
            </a:pPr>
            <a:r>
              <a:rPr lang="es-ES_tradnl" sz="1000">
                <a:solidFill>
                  <a:schemeClr val="bg1"/>
                </a:solidFill>
              </a:rPr>
              <a:t>Preparado por Magister Ana Sofía Principi</a:t>
            </a:r>
          </a:p>
        </p:txBody>
      </p:sp>
      <p:sp>
        <p:nvSpPr>
          <p:cNvPr id="164866" name="Rectangle 2"/>
          <p:cNvSpPr>
            <a:spLocks noGrp="1" noChangeArrowheads="1"/>
          </p:cNvSpPr>
          <p:nvPr>
            <p:ph type="hdr" sz="quarter"/>
          </p:nvPr>
        </p:nvSpPr>
        <p:spPr bwMode="auto">
          <a:xfrm>
            <a:off x="0"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a:spcBef>
                <a:spcPct val="0"/>
              </a:spcBef>
              <a:buClrTx/>
              <a:buSzTx/>
              <a:buFontTx/>
              <a:buNone/>
              <a:defRPr sz="1300">
                <a:solidFill>
                  <a:schemeClr val="tx1"/>
                </a:solidFill>
                <a:latin typeface="Times New Roman" pitchFamily="18" charset="0"/>
                <a:cs typeface="+mn-cs"/>
              </a:defRPr>
            </a:lvl1pPr>
          </a:lstStyle>
          <a:p>
            <a:pPr>
              <a:defRPr/>
            </a:pPr>
            <a:endParaRPr lang="es-ES_tradnl"/>
          </a:p>
        </p:txBody>
      </p:sp>
      <p:sp>
        <p:nvSpPr>
          <p:cNvPr id="164867" name="Rectangle 3"/>
          <p:cNvSpPr>
            <a:spLocks noGrp="1" noChangeArrowheads="1"/>
          </p:cNvSpPr>
          <p:nvPr>
            <p:ph type="dt" sz="quarter" idx="1"/>
          </p:nvPr>
        </p:nvSpPr>
        <p:spPr bwMode="auto">
          <a:xfrm>
            <a:off x="4143375"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algn="r">
              <a:spcBef>
                <a:spcPct val="0"/>
              </a:spcBef>
              <a:buClrTx/>
              <a:buSzTx/>
              <a:buFontTx/>
              <a:buNone/>
              <a:defRPr sz="1300">
                <a:solidFill>
                  <a:schemeClr val="tx1"/>
                </a:solidFill>
                <a:latin typeface="Times New Roman" pitchFamily="18" charset="0"/>
                <a:cs typeface="+mn-cs"/>
              </a:defRPr>
            </a:lvl1pPr>
          </a:lstStyle>
          <a:p>
            <a:pPr>
              <a:defRPr/>
            </a:pPr>
            <a:endParaRPr lang="es-ES_tradnl"/>
          </a:p>
        </p:txBody>
      </p:sp>
      <p:sp>
        <p:nvSpPr>
          <p:cNvPr id="164869" name="Rectangle 5"/>
          <p:cNvSpPr>
            <a:spLocks noGrp="1" noChangeArrowheads="1"/>
          </p:cNvSpPr>
          <p:nvPr>
            <p:ph type="sldNum" sz="quarter" idx="3"/>
          </p:nvPr>
        </p:nvSpPr>
        <p:spPr bwMode="auto">
          <a:xfrm>
            <a:off x="4143375" y="9120188"/>
            <a:ext cx="3170238" cy="479425"/>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algn="r">
              <a:defRPr sz="1300">
                <a:solidFill>
                  <a:schemeClr val="tx1"/>
                </a:solidFill>
                <a:latin typeface="Times New Roman" panose="02020603050405020304" pitchFamily="18" charset="0"/>
              </a:defRPr>
            </a:lvl1pPr>
          </a:lstStyle>
          <a:p>
            <a:fld id="{3FF2BECE-2C38-4A2C-A63C-653D4753E391}" type="slidenum">
              <a:rPr lang="es-ES_tradnl" altLang="en-US"/>
              <a:pPr/>
              <a:t>‹nº›</a:t>
            </a:fld>
            <a:endParaRPr lang="es-ES_tradnl" altLang="en-US"/>
          </a:p>
        </p:txBody>
      </p:sp>
    </p:spTree>
    <p:extLst>
      <p:ext uri="{BB962C8B-B14F-4D97-AF65-F5344CB8AC3E}">
        <p14:creationId xmlns="" xmlns:p14="http://schemas.microsoft.com/office/powerpoint/2010/main" val="2256935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a:spcBef>
                <a:spcPct val="0"/>
              </a:spcBef>
              <a:buClrTx/>
              <a:buSzTx/>
              <a:buFontTx/>
              <a:buNone/>
              <a:defRPr sz="1300">
                <a:solidFill>
                  <a:schemeClr val="tx1"/>
                </a:solidFill>
                <a:latin typeface="Times New Roman" pitchFamily="18" charset="0"/>
                <a:cs typeface="+mn-cs"/>
              </a:defRPr>
            </a:lvl1pPr>
          </a:lstStyle>
          <a:p>
            <a:pPr>
              <a:defRPr/>
            </a:pPr>
            <a:endParaRPr lang="es-ES"/>
          </a:p>
        </p:txBody>
      </p:sp>
      <p:sp>
        <p:nvSpPr>
          <p:cNvPr id="6147" name="Rectangle 3"/>
          <p:cNvSpPr>
            <a:spLocks noGrp="1" noChangeArrowheads="1"/>
          </p:cNvSpPr>
          <p:nvPr>
            <p:ph type="dt" idx="1"/>
          </p:nvPr>
        </p:nvSpPr>
        <p:spPr bwMode="auto">
          <a:xfrm>
            <a:off x="4143375"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algn="r">
              <a:spcBef>
                <a:spcPct val="0"/>
              </a:spcBef>
              <a:buClrTx/>
              <a:buSzTx/>
              <a:buFontTx/>
              <a:buNone/>
              <a:defRPr sz="1300">
                <a:solidFill>
                  <a:schemeClr val="tx1"/>
                </a:solidFill>
                <a:latin typeface="Times New Roman" pitchFamily="18" charset="0"/>
                <a:cs typeface="+mn-cs"/>
              </a:defRPr>
            </a:lvl1pPr>
          </a:lstStyle>
          <a:p>
            <a:pPr>
              <a:defRPr/>
            </a:pPr>
            <a:endParaRPr lang="es-ES"/>
          </a:p>
        </p:txBody>
      </p:sp>
      <p:sp>
        <p:nvSpPr>
          <p:cNvPr id="40964" name="Rectangle 4"/>
          <p:cNvSpPr>
            <a:spLocks noGrp="1" noRot="1" noChangeAspect="1" noChangeArrowheads="1" noTextEdit="1"/>
          </p:cNvSpPr>
          <p:nvPr>
            <p:ph type="sldImg" idx="2"/>
          </p:nvPr>
        </p:nvSpPr>
        <p:spPr bwMode="auto">
          <a:xfrm>
            <a:off x="1057275" y="720725"/>
            <a:ext cx="5200650" cy="3600450"/>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731838" y="4560888"/>
            <a:ext cx="5851525" cy="4319587"/>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p>
        </p:txBody>
      </p:sp>
      <p:sp>
        <p:nvSpPr>
          <p:cNvPr id="6150" name="Rectangle 6"/>
          <p:cNvSpPr>
            <a:spLocks noGrp="1" noChangeArrowheads="1"/>
          </p:cNvSpPr>
          <p:nvPr>
            <p:ph type="ftr" sz="quarter" idx="4"/>
          </p:nvPr>
        </p:nvSpPr>
        <p:spPr bwMode="auto">
          <a:xfrm>
            <a:off x="0" y="9120188"/>
            <a:ext cx="3170238" cy="479425"/>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a:spcBef>
                <a:spcPct val="0"/>
              </a:spcBef>
              <a:buClrTx/>
              <a:buSzTx/>
              <a:buFontTx/>
              <a:buNone/>
              <a:defRPr sz="1300">
                <a:solidFill>
                  <a:schemeClr val="tx1"/>
                </a:solidFill>
                <a:latin typeface="Times New Roman" pitchFamily="18" charset="0"/>
                <a:cs typeface="+mn-cs"/>
              </a:defRPr>
            </a:lvl1pPr>
          </a:lstStyle>
          <a:p>
            <a:pPr>
              <a:defRPr/>
            </a:pPr>
            <a:endParaRPr lang="es-ES"/>
          </a:p>
        </p:txBody>
      </p:sp>
      <p:sp>
        <p:nvSpPr>
          <p:cNvPr id="6151" name="Rectangle 7"/>
          <p:cNvSpPr>
            <a:spLocks noGrp="1" noChangeArrowheads="1"/>
          </p:cNvSpPr>
          <p:nvPr>
            <p:ph type="sldNum" sz="quarter" idx="5"/>
          </p:nvPr>
        </p:nvSpPr>
        <p:spPr bwMode="auto">
          <a:xfrm>
            <a:off x="4143375" y="9120188"/>
            <a:ext cx="3170238" cy="479425"/>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algn="r">
              <a:defRPr sz="1300">
                <a:solidFill>
                  <a:schemeClr val="tx1"/>
                </a:solidFill>
                <a:latin typeface="Times New Roman" panose="02020603050405020304" pitchFamily="18" charset="0"/>
              </a:defRPr>
            </a:lvl1pPr>
          </a:lstStyle>
          <a:p>
            <a:fld id="{DC96EE1B-384B-474D-B2DE-2EA345BC23B9}" type="slidenum">
              <a:rPr lang="es-ES" altLang="en-US"/>
              <a:pPr/>
              <a:t>‹nº›</a:t>
            </a:fld>
            <a:endParaRPr lang="es-ES" altLang="en-US"/>
          </a:p>
        </p:txBody>
      </p:sp>
    </p:spTree>
    <p:extLst>
      <p:ext uri="{BB962C8B-B14F-4D97-AF65-F5344CB8AC3E}">
        <p14:creationId xmlns="" xmlns:p14="http://schemas.microsoft.com/office/powerpoint/2010/main" val="335176800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CF810698-A172-49D4-8234-5590C24FE8FA}" type="slidenum">
              <a:rPr lang="es-ES" altLang="es-AR" sz="1300"/>
              <a:pPr eaLnBrk="1" hangingPunct="1">
                <a:spcBef>
                  <a:spcPct val="0"/>
                </a:spcBef>
              </a:pPr>
              <a:t>1</a:t>
            </a:fld>
            <a:endParaRPr lang="es-ES" altLang="es-AR" sz="1300"/>
          </a:p>
        </p:txBody>
      </p:sp>
      <p:sp>
        <p:nvSpPr>
          <p:cNvPr id="41987" name="Rectangle 2"/>
          <p:cNvSpPr>
            <a:spLocks noGrp="1" noRot="1" noChangeAspect="1" noChangeArrowheads="1" noTextEdit="1"/>
          </p:cNvSpPr>
          <p:nvPr>
            <p:ph type="sldImg"/>
          </p:nvPr>
        </p:nvSpPr>
        <p:spPr>
          <a:xfrm>
            <a:off x="1058863" y="720725"/>
            <a:ext cx="5200650" cy="3600450"/>
          </a:xfrm>
          <a:ln/>
        </p:spPr>
      </p:sp>
      <p:sp>
        <p:nvSpPr>
          <p:cNvPr id="41988" name="Rectangle 3"/>
          <p:cNvSpPr>
            <a:spLocks noGrp="1" noChangeArrowheads="1"/>
          </p:cNvSpPr>
          <p:nvPr>
            <p:ph type="body" idx="1"/>
          </p:nvPr>
        </p:nvSpPr>
        <p:spPr>
          <a:xfrm>
            <a:off x="974725" y="4560888"/>
            <a:ext cx="5283200" cy="2400300"/>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ES" altLang="es-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AR" altLang="es-AR"/>
          </a:p>
        </p:txBody>
      </p:sp>
      <p:sp>
        <p:nvSpPr>
          <p:cNvPr id="4" name="Slide Number Placeholder 3"/>
          <p:cNvSpPr>
            <a:spLocks noGrp="1"/>
          </p:cNvSpPr>
          <p:nvPr>
            <p:ph type="sldNum" sz="quarter" idx="5"/>
          </p:nvPr>
        </p:nvSpPr>
        <p:spPr/>
        <p:txBody>
          <a:bodyPr/>
          <a:lstStyle>
            <a:lvl1pPr eaLnBrk="0" hangingPunct="0">
              <a:defRPr sz="1600">
                <a:solidFill>
                  <a:srgbClr val="000000"/>
                </a:solidFill>
                <a:latin typeface="Verdana" panose="020B0604030504040204" pitchFamily="34" charset="0"/>
                <a:cs typeface="Arial" panose="020B0604020202020204" pitchFamily="34" charset="0"/>
              </a:defRPr>
            </a:lvl1pPr>
            <a:lvl2pPr marL="742950" indent="-285750" eaLnBrk="0" hangingPunct="0">
              <a:defRPr sz="1600">
                <a:solidFill>
                  <a:srgbClr val="000000"/>
                </a:solidFill>
                <a:latin typeface="Verdana" panose="020B0604030504040204" pitchFamily="34" charset="0"/>
                <a:cs typeface="Arial" panose="020B0604020202020204" pitchFamily="34" charset="0"/>
              </a:defRPr>
            </a:lvl2pPr>
            <a:lvl3pPr marL="1143000" indent="-228600" eaLnBrk="0" hangingPunct="0">
              <a:defRPr sz="1600">
                <a:solidFill>
                  <a:srgbClr val="000000"/>
                </a:solidFill>
                <a:latin typeface="Verdana" panose="020B0604030504040204" pitchFamily="34" charset="0"/>
                <a:cs typeface="Arial" panose="020B0604020202020204" pitchFamily="34" charset="0"/>
              </a:defRPr>
            </a:lvl3pPr>
            <a:lvl4pPr marL="1600200" indent="-228600" eaLnBrk="0" hangingPunct="0">
              <a:defRPr sz="1600">
                <a:solidFill>
                  <a:srgbClr val="000000"/>
                </a:solidFill>
                <a:latin typeface="Verdana" panose="020B0604030504040204" pitchFamily="34" charset="0"/>
                <a:cs typeface="Arial" panose="020B0604020202020204" pitchFamily="34" charset="0"/>
              </a:defRPr>
            </a:lvl4pPr>
            <a:lvl5pPr marL="2057400" indent="-228600" eaLnBrk="0" hangingPunct="0">
              <a:defRPr sz="1600">
                <a:solidFill>
                  <a:srgbClr val="000000"/>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9pPr>
          </a:lstStyle>
          <a:p>
            <a:pPr eaLnBrk="1" hangingPunct="1"/>
            <a:fld id="{4ECC71A6-069A-4456-B1A5-50A8A7BADA54}" type="slidenum">
              <a:rPr lang="es-ES" altLang="en-US" sz="1300">
                <a:solidFill>
                  <a:schemeClr val="tx1"/>
                </a:solidFill>
                <a:latin typeface="Times New Roman" panose="02020603050405020304" pitchFamily="18" charset="0"/>
              </a:rPr>
              <a:pPr eaLnBrk="1" hangingPunct="1"/>
              <a:t>13</a:t>
            </a:fld>
            <a:endParaRPr lang="es-ES" altLang="en-US" sz="1300">
              <a:solidFill>
                <a:schemeClr val="tx1"/>
              </a:solidFill>
              <a:latin typeface="Times New Roman" panose="02020603050405020304"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1 Marcador de imagen de diapositiva"/>
          <p:cNvSpPr>
            <a:spLocks noGrp="1" noRot="1" noChangeAspect="1" noTextEdit="1"/>
          </p:cNvSpPr>
          <p:nvPr>
            <p:ph type="sldImg"/>
          </p:nvPr>
        </p:nvSpPr>
        <p:spPr>
          <a:ln/>
        </p:spPr>
      </p:sp>
      <p:sp>
        <p:nvSpPr>
          <p:cNvPr id="52227" name="2 Marcador de notas"/>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ES" altLang="es-AR"/>
          </a:p>
        </p:txBody>
      </p:sp>
      <p:sp>
        <p:nvSpPr>
          <p:cNvPr id="4" name="3 Marcador de número de diapositiva"/>
          <p:cNvSpPr>
            <a:spLocks noGrp="1"/>
          </p:cNvSpPr>
          <p:nvPr>
            <p:ph type="sldNum" sz="quarter" idx="5"/>
          </p:nvPr>
        </p:nvSpPr>
        <p:spPr/>
        <p:txBody>
          <a:bodyPr/>
          <a:lstStyle>
            <a:lvl1pPr eaLnBrk="0" hangingPunct="0">
              <a:defRPr sz="1600">
                <a:solidFill>
                  <a:srgbClr val="000000"/>
                </a:solidFill>
                <a:latin typeface="Verdana" panose="020B0604030504040204" pitchFamily="34" charset="0"/>
                <a:cs typeface="Arial" panose="020B0604020202020204" pitchFamily="34" charset="0"/>
              </a:defRPr>
            </a:lvl1pPr>
            <a:lvl2pPr marL="742950" indent="-285750" eaLnBrk="0" hangingPunct="0">
              <a:defRPr sz="1600">
                <a:solidFill>
                  <a:srgbClr val="000000"/>
                </a:solidFill>
                <a:latin typeface="Verdana" panose="020B0604030504040204" pitchFamily="34" charset="0"/>
                <a:cs typeface="Arial" panose="020B0604020202020204" pitchFamily="34" charset="0"/>
              </a:defRPr>
            </a:lvl2pPr>
            <a:lvl3pPr marL="1143000" indent="-228600" eaLnBrk="0" hangingPunct="0">
              <a:defRPr sz="1600">
                <a:solidFill>
                  <a:srgbClr val="000000"/>
                </a:solidFill>
                <a:latin typeface="Verdana" panose="020B0604030504040204" pitchFamily="34" charset="0"/>
                <a:cs typeface="Arial" panose="020B0604020202020204" pitchFamily="34" charset="0"/>
              </a:defRPr>
            </a:lvl3pPr>
            <a:lvl4pPr marL="1600200" indent="-228600" eaLnBrk="0" hangingPunct="0">
              <a:defRPr sz="1600">
                <a:solidFill>
                  <a:srgbClr val="000000"/>
                </a:solidFill>
                <a:latin typeface="Verdana" panose="020B0604030504040204" pitchFamily="34" charset="0"/>
                <a:cs typeface="Arial" panose="020B0604020202020204" pitchFamily="34" charset="0"/>
              </a:defRPr>
            </a:lvl4pPr>
            <a:lvl5pPr marL="2057400" indent="-228600" eaLnBrk="0" hangingPunct="0">
              <a:defRPr sz="1600">
                <a:solidFill>
                  <a:srgbClr val="000000"/>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9pPr>
          </a:lstStyle>
          <a:p>
            <a:pPr eaLnBrk="1" hangingPunct="1"/>
            <a:fld id="{BC48F5D8-4E9F-4103-8289-D501B9AFC1FB}" type="slidenum">
              <a:rPr lang="es-ES" altLang="en-US" sz="1300">
                <a:solidFill>
                  <a:schemeClr val="tx1"/>
                </a:solidFill>
                <a:latin typeface="Times New Roman" panose="02020603050405020304" pitchFamily="18" charset="0"/>
              </a:rPr>
              <a:pPr eaLnBrk="1" hangingPunct="1"/>
              <a:t>14</a:t>
            </a:fld>
            <a:endParaRPr lang="es-ES" altLang="en-US" sz="1300">
              <a:solidFill>
                <a:schemeClr val="tx1"/>
              </a:solidFill>
              <a:latin typeface="Times New Roman" panose="02020603050405020304" pitchFamily="18"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1 Marcador de imagen de diapositiva"/>
          <p:cNvSpPr>
            <a:spLocks noGrp="1" noRot="1" noChangeAspect="1" noTextEdit="1"/>
          </p:cNvSpPr>
          <p:nvPr>
            <p:ph type="sldImg"/>
          </p:nvPr>
        </p:nvSpPr>
        <p:spPr>
          <a:ln/>
        </p:spPr>
      </p:sp>
      <p:sp>
        <p:nvSpPr>
          <p:cNvPr id="53251" name="2 Marcador de notas"/>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ES" altLang="es-AR"/>
          </a:p>
        </p:txBody>
      </p:sp>
      <p:sp>
        <p:nvSpPr>
          <p:cNvPr id="4" name="3 Marcador de número de diapositiva"/>
          <p:cNvSpPr>
            <a:spLocks noGrp="1"/>
          </p:cNvSpPr>
          <p:nvPr>
            <p:ph type="sldNum" sz="quarter" idx="5"/>
          </p:nvPr>
        </p:nvSpPr>
        <p:spPr/>
        <p:txBody>
          <a:bodyPr/>
          <a:lstStyle>
            <a:lvl1pPr eaLnBrk="0" hangingPunct="0">
              <a:defRPr sz="1600">
                <a:solidFill>
                  <a:srgbClr val="000000"/>
                </a:solidFill>
                <a:latin typeface="Verdana" panose="020B0604030504040204" pitchFamily="34" charset="0"/>
                <a:cs typeface="Arial" panose="020B0604020202020204" pitchFamily="34" charset="0"/>
              </a:defRPr>
            </a:lvl1pPr>
            <a:lvl2pPr marL="742950" indent="-285750" eaLnBrk="0" hangingPunct="0">
              <a:defRPr sz="1600">
                <a:solidFill>
                  <a:srgbClr val="000000"/>
                </a:solidFill>
                <a:latin typeface="Verdana" panose="020B0604030504040204" pitchFamily="34" charset="0"/>
                <a:cs typeface="Arial" panose="020B0604020202020204" pitchFamily="34" charset="0"/>
              </a:defRPr>
            </a:lvl2pPr>
            <a:lvl3pPr marL="1143000" indent="-228600" eaLnBrk="0" hangingPunct="0">
              <a:defRPr sz="1600">
                <a:solidFill>
                  <a:srgbClr val="000000"/>
                </a:solidFill>
                <a:latin typeface="Verdana" panose="020B0604030504040204" pitchFamily="34" charset="0"/>
                <a:cs typeface="Arial" panose="020B0604020202020204" pitchFamily="34" charset="0"/>
              </a:defRPr>
            </a:lvl3pPr>
            <a:lvl4pPr marL="1600200" indent="-228600" eaLnBrk="0" hangingPunct="0">
              <a:defRPr sz="1600">
                <a:solidFill>
                  <a:srgbClr val="000000"/>
                </a:solidFill>
                <a:latin typeface="Verdana" panose="020B0604030504040204" pitchFamily="34" charset="0"/>
                <a:cs typeface="Arial" panose="020B0604020202020204" pitchFamily="34" charset="0"/>
              </a:defRPr>
            </a:lvl4pPr>
            <a:lvl5pPr marL="2057400" indent="-228600" eaLnBrk="0" hangingPunct="0">
              <a:defRPr sz="1600">
                <a:solidFill>
                  <a:srgbClr val="000000"/>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9pPr>
          </a:lstStyle>
          <a:p>
            <a:pPr eaLnBrk="1" hangingPunct="1"/>
            <a:fld id="{E0887258-FF0E-494C-8E07-2B3938D3E1CA}" type="slidenum">
              <a:rPr lang="es-ES" altLang="en-US" sz="1300">
                <a:solidFill>
                  <a:schemeClr val="tx1"/>
                </a:solidFill>
                <a:latin typeface="Times New Roman" panose="02020603050405020304" pitchFamily="18" charset="0"/>
              </a:rPr>
              <a:pPr eaLnBrk="1" hangingPunct="1"/>
              <a:t>15</a:t>
            </a:fld>
            <a:endParaRPr lang="es-ES" altLang="en-US" sz="1300">
              <a:solidFill>
                <a:schemeClr val="tx1"/>
              </a:solidFill>
              <a:latin typeface="Times New Roman" panose="02020603050405020304" pitchFamily="18"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ChangeArrowheads="1" noTextEdit="1"/>
          </p:cNvSpPr>
          <p:nvPr>
            <p:ph type="sldImg"/>
          </p:nvPr>
        </p:nvSpPr>
        <p:spPr>
          <a:ln/>
        </p:spPr>
      </p:sp>
      <p:sp>
        <p:nvSpPr>
          <p:cNvPr id="54275"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AR" altLang="es-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1 Marcador de imagen de diapositiva"/>
          <p:cNvSpPr>
            <a:spLocks noGrp="1" noRot="1" noChangeAspect="1" noTextEdit="1"/>
          </p:cNvSpPr>
          <p:nvPr>
            <p:ph type="sldImg"/>
          </p:nvPr>
        </p:nvSpPr>
        <p:spPr>
          <a:ln/>
        </p:spPr>
      </p:sp>
      <p:sp>
        <p:nvSpPr>
          <p:cNvPr id="55299" name="2 Marcador de notas"/>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ES" altLang="es-AR"/>
          </a:p>
        </p:txBody>
      </p:sp>
      <p:sp>
        <p:nvSpPr>
          <p:cNvPr id="4" name="3 Marcador de número de diapositiva"/>
          <p:cNvSpPr>
            <a:spLocks noGrp="1"/>
          </p:cNvSpPr>
          <p:nvPr>
            <p:ph type="sldNum" sz="quarter" idx="5"/>
          </p:nvPr>
        </p:nvSpPr>
        <p:spPr/>
        <p:txBody>
          <a:bodyPr/>
          <a:lstStyle>
            <a:lvl1pPr eaLnBrk="0" hangingPunct="0">
              <a:defRPr sz="1600">
                <a:solidFill>
                  <a:srgbClr val="000000"/>
                </a:solidFill>
                <a:latin typeface="Verdana" panose="020B0604030504040204" pitchFamily="34" charset="0"/>
                <a:cs typeface="Arial" panose="020B0604020202020204" pitchFamily="34" charset="0"/>
              </a:defRPr>
            </a:lvl1pPr>
            <a:lvl2pPr marL="742950" indent="-285750" eaLnBrk="0" hangingPunct="0">
              <a:defRPr sz="1600">
                <a:solidFill>
                  <a:srgbClr val="000000"/>
                </a:solidFill>
                <a:latin typeface="Verdana" panose="020B0604030504040204" pitchFamily="34" charset="0"/>
                <a:cs typeface="Arial" panose="020B0604020202020204" pitchFamily="34" charset="0"/>
              </a:defRPr>
            </a:lvl2pPr>
            <a:lvl3pPr marL="1143000" indent="-228600" eaLnBrk="0" hangingPunct="0">
              <a:defRPr sz="1600">
                <a:solidFill>
                  <a:srgbClr val="000000"/>
                </a:solidFill>
                <a:latin typeface="Verdana" panose="020B0604030504040204" pitchFamily="34" charset="0"/>
                <a:cs typeface="Arial" panose="020B0604020202020204" pitchFamily="34" charset="0"/>
              </a:defRPr>
            </a:lvl3pPr>
            <a:lvl4pPr marL="1600200" indent="-228600" eaLnBrk="0" hangingPunct="0">
              <a:defRPr sz="1600">
                <a:solidFill>
                  <a:srgbClr val="000000"/>
                </a:solidFill>
                <a:latin typeface="Verdana" panose="020B0604030504040204" pitchFamily="34" charset="0"/>
                <a:cs typeface="Arial" panose="020B0604020202020204" pitchFamily="34" charset="0"/>
              </a:defRPr>
            </a:lvl4pPr>
            <a:lvl5pPr marL="2057400" indent="-228600" eaLnBrk="0" hangingPunct="0">
              <a:defRPr sz="1600">
                <a:solidFill>
                  <a:srgbClr val="000000"/>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9pPr>
          </a:lstStyle>
          <a:p>
            <a:pPr eaLnBrk="1" hangingPunct="1"/>
            <a:fld id="{73DF0810-26FB-4C96-8236-5D297110D6BB}" type="slidenum">
              <a:rPr lang="es-ES" altLang="en-US" sz="1300">
                <a:solidFill>
                  <a:schemeClr val="tx1"/>
                </a:solidFill>
                <a:latin typeface="Times New Roman" panose="02020603050405020304" pitchFamily="18" charset="0"/>
              </a:rPr>
              <a:pPr eaLnBrk="1" hangingPunct="1"/>
              <a:t>17</a:t>
            </a:fld>
            <a:endParaRPr lang="es-ES" altLang="en-US" sz="1300">
              <a:solidFill>
                <a:schemeClr val="tx1"/>
              </a:solidFill>
              <a:latin typeface="Times New Roman" panose="02020603050405020304" pitchFamily="18"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1 Marcador de imagen de diapositiva"/>
          <p:cNvSpPr>
            <a:spLocks noGrp="1" noRot="1" noChangeAspect="1" noTextEdit="1"/>
          </p:cNvSpPr>
          <p:nvPr>
            <p:ph type="sldImg"/>
          </p:nvPr>
        </p:nvSpPr>
        <p:spPr>
          <a:ln/>
        </p:spPr>
      </p:sp>
      <p:sp>
        <p:nvSpPr>
          <p:cNvPr id="56323" name="2 Marcador de notas"/>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ES" altLang="es-AR"/>
          </a:p>
        </p:txBody>
      </p:sp>
      <p:sp>
        <p:nvSpPr>
          <p:cNvPr id="4" name="3 Marcador de número de diapositiva"/>
          <p:cNvSpPr>
            <a:spLocks noGrp="1"/>
          </p:cNvSpPr>
          <p:nvPr>
            <p:ph type="sldNum" sz="quarter" idx="5"/>
          </p:nvPr>
        </p:nvSpPr>
        <p:spPr/>
        <p:txBody>
          <a:bodyPr/>
          <a:lstStyle>
            <a:lvl1pPr eaLnBrk="0" hangingPunct="0">
              <a:defRPr sz="1600">
                <a:solidFill>
                  <a:srgbClr val="000000"/>
                </a:solidFill>
                <a:latin typeface="Verdana" panose="020B0604030504040204" pitchFamily="34" charset="0"/>
                <a:cs typeface="Arial" panose="020B0604020202020204" pitchFamily="34" charset="0"/>
              </a:defRPr>
            </a:lvl1pPr>
            <a:lvl2pPr marL="742950" indent="-285750" eaLnBrk="0" hangingPunct="0">
              <a:defRPr sz="1600">
                <a:solidFill>
                  <a:srgbClr val="000000"/>
                </a:solidFill>
                <a:latin typeface="Verdana" panose="020B0604030504040204" pitchFamily="34" charset="0"/>
                <a:cs typeface="Arial" panose="020B0604020202020204" pitchFamily="34" charset="0"/>
              </a:defRPr>
            </a:lvl2pPr>
            <a:lvl3pPr marL="1143000" indent="-228600" eaLnBrk="0" hangingPunct="0">
              <a:defRPr sz="1600">
                <a:solidFill>
                  <a:srgbClr val="000000"/>
                </a:solidFill>
                <a:latin typeface="Verdana" panose="020B0604030504040204" pitchFamily="34" charset="0"/>
                <a:cs typeface="Arial" panose="020B0604020202020204" pitchFamily="34" charset="0"/>
              </a:defRPr>
            </a:lvl3pPr>
            <a:lvl4pPr marL="1600200" indent="-228600" eaLnBrk="0" hangingPunct="0">
              <a:defRPr sz="1600">
                <a:solidFill>
                  <a:srgbClr val="000000"/>
                </a:solidFill>
                <a:latin typeface="Verdana" panose="020B0604030504040204" pitchFamily="34" charset="0"/>
                <a:cs typeface="Arial" panose="020B0604020202020204" pitchFamily="34" charset="0"/>
              </a:defRPr>
            </a:lvl4pPr>
            <a:lvl5pPr marL="2057400" indent="-228600" eaLnBrk="0" hangingPunct="0">
              <a:defRPr sz="1600">
                <a:solidFill>
                  <a:srgbClr val="000000"/>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9pPr>
          </a:lstStyle>
          <a:p>
            <a:pPr eaLnBrk="1" hangingPunct="1"/>
            <a:fld id="{EB0B30A8-B32E-4415-87F8-562F9B3128D6}" type="slidenum">
              <a:rPr lang="es-ES" altLang="en-US" sz="1300">
                <a:solidFill>
                  <a:schemeClr val="tx1"/>
                </a:solidFill>
                <a:latin typeface="Times New Roman" panose="02020603050405020304" pitchFamily="18" charset="0"/>
              </a:rPr>
              <a:pPr eaLnBrk="1" hangingPunct="1"/>
              <a:t>18</a:t>
            </a:fld>
            <a:endParaRPr lang="es-ES" altLang="en-US" sz="1300">
              <a:solidFill>
                <a:schemeClr val="tx1"/>
              </a:solidFill>
              <a:latin typeface="Times New Roman" panose="02020603050405020304" pitchFamily="18"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AR" altLang="es-AR"/>
          </a:p>
        </p:txBody>
      </p:sp>
      <p:sp>
        <p:nvSpPr>
          <p:cNvPr id="4" name="Slide Number Placeholder 3"/>
          <p:cNvSpPr>
            <a:spLocks noGrp="1"/>
          </p:cNvSpPr>
          <p:nvPr>
            <p:ph type="sldNum" sz="quarter" idx="5"/>
          </p:nvPr>
        </p:nvSpPr>
        <p:spPr/>
        <p:txBody>
          <a:bodyPr/>
          <a:lstStyle>
            <a:lvl1pPr eaLnBrk="0" hangingPunct="0">
              <a:defRPr sz="1600">
                <a:solidFill>
                  <a:srgbClr val="000000"/>
                </a:solidFill>
                <a:latin typeface="Verdana" panose="020B0604030504040204" pitchFamily="34" charset="0"/>
                <a:cs typeface="Arial" panose="020B0604020202020204" pitchFamily="34" charset="0"/>
              </a:defRPr>
            </a:lvl1pPr>
            <a:lvl2pPr marL="742950" indent="-285750" eaLnBrk="0" hangingPunct="0">
              <a:defRPr sz="1600">
                <a:solidFill>
                  <a:srgbClr val="000000"/>
                </a:solidFill>
                <a:latin typeface="Verdana" panose="020B0604030504040204" pitchFamily="34" charset="0"/>
                <a:cs typeface="Arial" panose="020B0604020202020204" pitchFamily="34" charset="0"/>
              </a:defRPr>
            </a:lvl2pPr>
            <a:lvl3pPr marL="1143000" indent="-228600" eaLnBrk="0" hangingPunct="0">
              <a:defRPr sz="1600">
                <a:solidFill>
                  <a:srgbClr val="000000"/>
                </a:solidFill>
                <a:latin typeface="Verdana" panose="020B0604030504040204" pitchFamily="34" charset="0"/>
                <a:cs typeface="Arial" panose="020B0604020202020204" pitchFamily="34" charset="0"/>
              </a:defRPr>
            </a:lvl3pPr>
            <a:lvl4pPr marL="1600200" indent="-228600" eaLnBrk="0" hangingPunct="0">
              <a:defRPr sz="1600">
                <a:solidFill>
                  <a:srgbClr val="000000"/>
                </a:solidFill>
                <a:latin typeface="Verdana" panose="020B0604030504040204" pitchFamily="34" charset="0"/>
                <a:cs typeface="Arial" panose="020B0604020202020204" pitchFamily="34" charset="0"/>
              </a:defRPr>
            </a:lvl4pPr>
            <a:lvl5pPr marL="2057400" indent="-228600" eaLnBrk="0" hangingPunct="0">
              <a:defRPr sz="1600">
                <a:solidFill>
                  <a:srgbClr val="000000"/>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9pPr>
          </a:lstStyle>
          <a:p>
            <a:pPr eaLnBrk="1" hangingPunct="1"/>
            <a:fld id="{FA9B6578-1187-44F0-8C62-86552BF355AE}" type="slidenum">
              <a:rPr lang="es-ES" altLang="en-US" sz="1300">
                <a:solidFill>
                  <a:schemeClr val="tx1"/>
                </a:solidFill>
                <a:latin typeface="Times New Roman" panose="02020603050405020304" pitchFamily="18" charset="0"/>
              </a:rPr>
              <a:pPr eaLnBrk="1" hangingPunct="1"/>
              <a:t>19</a:t>
            </a:fld>
            <a:endParaRPr lang="es-ES" altLang="en-US" sz="1300">
              <a:solidFill>
                <a:schemeClr val="tx1"/>
              </a:solidFill>
              <a:latin typeface="Times New Roman" panose="02020603050405020304" pitchFamily="18"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1 Marcador de imagen de diapositiva"/>
          <p:cNvSpPr>
            <a:spLocks noGrp="1" noRot="1" noChangeAspect="1" noTextEdit="1"/>
          </p:cNvSpPr>
          <p:nvPr>
            <p:ph type="sldImg"/>
          </p:nvPr>
        </p:nvSpPr>
        <p:spPr>
          <a:ln/>
        </p:spPr>
      </p:sp>
      <p:sp>
        <p:nvSpPr>
          <p:cNvPr id="58371" name="2 Marcador de notas"/>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AR" altLang="es-AR"/>
          </a:p>
        </p:txBody>
      </p:sp>
      <p:sp>
        <p:nvSpPr>
          <p:cNvPr id="4" name="3 Marcador de número de diapositiva"/>
          <p:cNvSpPr>
            <a:spLocks noGrp="1"/>
          </p:cNvSpPr>
          <p:nvPr>
            <p:ph type="sldNum" sz="quarter" idx="5"/>
          </p:nvPr>
        </p:nvSpPr>
        <p:spPr/>
        <p:txBody>
          <a:bodyPr/>
          <a:lstStyle>
            <a:lvl1pPr eaLnBrk="0" hangingPunct="0">
              <a:defRPr sz="1600">
                <a:solidFill>
                  <a:srgbClr val="000000"/>
                </a:solidFill>
                <a:latin typeface="Verdana" panose="020B0604030504040204" pitchFamily="34" charset="0"/>
                <a:cs typeface="Arial" panose="020B0604020202020204" pitchFamily="34" charset="0"/>
              </a:defRPr>
            </a:lvl1pPr>
            <a:lvl2pPr marL="742950" indent="-285750" eaLnBrk="0" hangingPunct="0">
              <a:defRPr sz="1600">
                <a:solidFill>
                  <a:srgbClr val="000000"/>
                </a:solidFill>
                <a:latin typeface="Verdana" panose="020B0604030504040204" pitchFamily="34" charset="0"/>
                <a:cs typeface="Arial" panose="020B0604020202020204" pitchFamily="34" charset="0"/>
              </a:defRPr>
            </a:lvl2pPr>
            <a:lvl3pPr marL="1143000" indent="-228600" eaLnBrk="0" hangingPunct="0">
              <a:defRPr sz="1600">
                <a:solidFill>
                  <a:srgbClr val="000000"/>
                </a:solidFill>
                <a:latin typeface="Verdana" panose="020B0604030504040204" pitchFamily="34" charset="0"/>
                <a:cs typeface="Arial" panose="020B0604020202020204" pitchFamily="34" charset="0"/>
              </a:defRPr>
            </a:lvl3pPr>
            <a:lvl4pPr marL="1600200" indent="-228600" eaLnBrk="0" hangingPunct="0">
              <a:defRPr sz="1600">
                <a:solidFill>
                  <a:srgbClr val="000000"/>
                </a:solidFill>
                <a:latin typeface="Verdana" panose="020B0604030504040204" pitchFamily="34" charset="0"/>
                <a:cs typeface="Arial" panose="020B0604020202020204" pitchFamily="34" charset="0"/>
              </a:defRPr>
            </a:lvl4pPr>
            <a:lvl5pPr marL="2057400" indent="-228600" eaLnBrk="0" hangingPunct="0">
              <a:defRPr sz="1600">
                <a:solidFill>
                  <a:srgbClr val="000000"/>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9pPr>
          </a:lstStyle>
          <a:p>
            <a:pPr eaLnBrk="1" hangingPunct="1"/>
            <a:fld id="{A8E57BD9-422A-45FC-8BE9-23A5EBBF14E8}" type="slidenum">
              <a:rPr lang="es-ES" altLang="en-US" sz="1300">
                <a:solidFill>
                  <a:schemeClr val="tx1"/>
                </a:solidFill>
                <a:latin typeface="Times New Roman" panose="02020603050405020304" pitchFamily="18" charset="0"/>
              </a:rPr>
              <a:pPr eaLnBrk="1" hangingPunct="1"/>
              <a:t>27</a:t>
            </a:fld>
            <a:endParaRPr lang="es-ES" altLang="en-US" sz="1300">
              <a:solidFill>
                <a:schemeClr val="tx1"/>
              </a:solidFill>
              <a:latin typeface="Times New Roman" panose="02020603050405020304" pitchFamily="18"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AR" altLang="es-ES_tradnl"/>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ln/>
        </p:spPr>
      </p:sp>
      <p:sp>
        <p:nvSpPr>
          <p:cNvPr id="60419"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AR" altLang="es-ES_tradnl"/>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1 Marcador de imagen de diapositiva"/>
          <p:cNvSpPr>
            <a:spLocks noGrp="1" noRot="1" noChangeAspect="1" noTextEdit="1"/>
          </p:cNvSpPr>
          <p:nvPr>
            <p:ph type="sldImg"/>
          </p:nvPr>
        </p:nvSpPr>
        <p:spPr>
          <a:ln/>
        </p:spPr>
      </p:sp>
      <p:sp>
        <p:nvSpPr>
          <p:cNvPr id="43011" name="2 Marcador de notas"/>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ES" altLang="es-AR"/>
          </a:p>
        </p:txBody>
      </p:sp>
      <p:sp>
        <p:nvSpPr>
          <p:cNvPr id="4" name="3 Marcador de número de diapositiva"/>
          <p:cNvSpPr>
            <a:spLocks noGrp="1"/>
          </p:cNvSpPr>
          <p:nvPr>
            <p:ph type="sldNum" sz="quarter" idx="5"/>
          </p:nvPr>
        </p:nvSpPr>
        <p:spPr/>
        <p:txBody>
          <a:bodyPr/>
          <a:lstStyle>
            <a:lvl1pPr eaLnBrk="0" hangingPunct="0">
              <a:defRPr sz="1600">
                <a:solidFill>
                  <a:srgbClr val="000000"/>
                </a:solidFill>
                <a:latin typeface="Verdana" panose="020B0604030504040204" pitchFamily="34" charset="0"/>
                <a:cs typeface="Arial" panose="020B0604020202020204" pitchFamily="34" charset="0"/>
              </a:defRPr>
            </a:lvl1pPr>
            <a:lvl2pPr marL="742950" indent="-285750" eaLnBrk="0" hangingPunct="0">
              <a:defRPr sz="1600">
                <a:solidFill>
                  <a:srgbClr val="000000"/>
                </a:solidFill>
                <a:latin typeface="Verdana" panose="020B0604030504040204" pitchFamily="34" charset="0"/>
                <a:cs typeface="Arial" panose="020B0604020202020204" pitchFamily="34" charset="0"/>
              </a:defRPr>
            </a:lvl2pPr>
            <a:lvl3pPr marL="1143000" indent="-228600" eaLnBrk="0" hangingPunct="0">
              <a:defRPr sz="1600">
                <a:solidFill>
                  <a:srgbClr val="000000"/>
                </a:solidFill>
                <a:latin typeface="Verdana" panose="020B0604030504040204" pitchFamily="34" charset="0"/>
                <a:cs typeface="Arial" panose="020B0604020202020204" pitchFamily="34" charset="0"/>
              </a:defRPr>
            </a:lvl3pPr>
            <a:lvl4pPr marL="1600200" indent="-228600" eaLnBrk="0" hangingPunct="0">
              <a:defRPr sz="1600">
                <a:solidFill>
                  <a:srgbClr val="000000"/>
                </a:solidFill>
                <a:latin typeface="Verdana" panose="020B0604030504040204" pitchFamily="34" charset="0"/>
                <a:cs typeface="Arial" panose="020B0604020202020204" pitchFamily="34" charset="0"/>
              </a:defRPr>
            </a:lvl4pPr>
            <a:lvl5pPr marL="2057400" indent="-228600" eaLnBrk="0" hangingPunct="0">
              <a:defRPr sz="1600">
                <a:solidFill>
                  <a:srgbClr val="000000"/>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9pPr>
          </a:lstStyle>
          <a:p>
            <a:pPr eaLnBrk="1" hangingPunct="1"/>
            <a:fld id="{A0EE975E-53EC-4EB3-B61B-50856E3A7B89}" type="slidenum">
              <a:rPr lang="es-ES" altLang="en-US" sz="1300">
                <a:solidFill>
                  <a:schemeClr val="tx1"/>
                </a:solidFill>
                <a:latin typeface="Times New Roman" panose="02020603050405020304" pitchFamily="18" charset="0"/>
              </a:rPr>
              <a:pPr eaLnBrk="1" hangingPunct="1"/>
              <a:t>5</a:t>
            </a:fld>
            <a:endParaRPr lang="es-ES" altLang="en-US" sz="1300">
              <a:solidFill>
                <a:schemeClr val="tx1"/>
              </a:solidFill>
              <a:latin typeface="Times New Roman" panose="02020603050405020304" pitchFamily="18"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a:ln/>
        </p:spPr>
      </p:sp>
      <p:sp>
        <p:nvSpPr>
          <p:cNvPr id="61443"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AR" altLang="es-ES_tradnl"/>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ChangeArrowheads="1" noTextEdit="1"/>
          </p:cNvSpPr>
          <p:nvPr>
            <p:ph type="sldImg"/>
          </p:nvPr>
        </p:nvSpPr>
        <p:spPr>
          <a:ln/>
        </p:spPr>
      </p:sp>
      <p:sp>
        <p:nvSpPr>
          <p:cNvPr id="62467"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AR" altLang="es-ES_tradnl"/>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AR" altLang="es-ES_tradnl"/>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AR" altLang="es-ES_tradnl"/>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9767B568-140D-48FD-87A6-7740BC34B90F}" type="slidenum">
              <a:rPr lang="es-ES" altLang="es-AR" sz="1300"/>
              <a:pPr eaLnBrk="1" hangingPunct="1">
                <a:spcBef>
                  <a:spcPct val="0"/>
                </a:spcBef>
              </a:pPr>
              <a:t>34</a:t>
            </a:fld>
            <a:endParaRPr lang="es-ES" altLang="es-AR" sz="1300"/>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xfrm>
            <a:off x="974725" y="4560888"/>
            <a:ext cx="5365750" cy="4319587"/>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r>
              <a:rPr lang="es-AR" altLang="es-AR"/>
              <a:t>Para quien quiera presentar alumnos o recomendar el examen no queda más que decir que todo alumno que quiera rendir el CELU debe cumplir con estos requisitos:</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A3D4C8AA-2D95-4D8A-900F-EDFE3ED4B797}" type="slidenum">
              <a:rPr lang="es-ES" altLang="es-AR" sz="1300"/>
              <a:pPr eaLnBrk="1" hangingPunct="1">
                <a:spcBef>
                  <a:spcPct val="0"/>
                </a:spcBef>
              </a:pPr>
              <a:t>36</a:t>
            </a:fld>
            <a:endParaRPr lang="es-ES" altLang="es-AR" sz="1300"/>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xfrm>
            <a:off x="974725" y="4560888"/>
            <a:ext cx="5365750" cy="4319587"/>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ES" altLang="es-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C488ECBB-9066-4BCE-A08D-4FC73BDAAB21}" type="slidenum">
              <a:rPr lang="es-ES" altLang="es-AR" sz="1300"/>
              <a:pPr eaLnBrk="1" hangingPunct="1">
                <a:spcBef>
                  <a:spcPct val="0"/>
                </a:spcBef>
              </a:pPr>
              <a:t>6</a:t>
            </a:fld>
            <a:endParaRPr lang="es-ES" altLang="es-AR" sz="1300"/>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xfrm>
            <a:off x="974725" y="4560888"/>
            <a:ext cx="5365750" cy="4319587"/>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r>
              <a:rPr lang="es-AR" altLang="es-AR"/>
              <a:t>Dado al contexto de solicitantes del que estamos hablando, el tipo de certificación requerida consiste en una </a:t>
            </a:r>
            <a:r>
              <a:rPr lang="es-AR" altLang="es-AR" b="1"/>
              <a:t>constancia</a:t>
            </a:r>
            <a:r>
              <a:rPr lang="es-AR" altLang="es-AR"/>
              <a:t> de que el hablante puede </a:t>
            </a:r>
            <a:r>
              <a:rPr lang="es-AR" altLang="es-AR" b="1"/>
              <a:t>usar</a:t>
            </a:r>
            <a:r>
              <a:rPr lang="es-AR" altLang="es-AR"/>
              <a:t> el español como lengua general, en niveles intermedio o alto, lo que le permite trabajar o estudiar en medios de habla hispana. Es decir, un certificado que dé constancia de la capacidad de uso de la lengua en contextos y situaciones a las que se enfrentan estudiantes y profesionales en general. </a:t>
            </a:r>
          </a:p>
          <a:p>
            <a:pPr eaLnBrk="1" hangingPunct="1"/>
            <a:endParaRPr lang="es-AR" altLang="es-AR"/>
          </a:p>
          <a:p>
            <a:pPr eaLnBrk="1" hangingPunct="1"/>
            <a:endParaRPr lang="es-ES" altLang="es-AR"/>
          </a:p>
          <a:p>
            <a:pPr eaLnBrk="1" hangingPunct="1"/>
            <a:r>
              <a:rPr lang="es-ES" altLang="es-AR"/>
              <a:t>Se certifica como hablantes proficientes de español de nivel intermedio o avanzado a los que rinden un examen que se empezó a tomar en noviembre de 2004.</a:t>
            </a:r>
          </a:p>
          <a:p>
            <a:pPr eaLnBrk="1" hangingPunct="1"/>
            <a:endParaRPr lang="es-ES" altLang="es-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txBox="1">
            <a:spLocks noGrp="1" noChangeArrowheads="1"/>
          </p:cNvSpPr>
          <p:nvPr/>
        </p:nvSpPr>
        <p:spPr bwMode="auto">
          <a:xfrm>
            <a:off x="4143375" y="9120188"/>
            <a:ext cx="3170238" cy="479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6661" tIns="48331" rIns="96661" bIns="48331" anchor="b"/>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lgn="r" eaLnBrk="1" hangingPunct="1">
              <a:spcBef>
                <a:spcPct val="0"/>
              </a:spcBef>
            </a:pPr>
            <a:fld id="{BF279765-A9EE-4B58-A11F-4DAB54BDEFEE}" type="slidenum">
              <a:rPr lang="es-ES" altLang="es-AR" sz="1300"/>
              <a:pPr algn="r" eaLnBrk="1" hangingPunct="1">
                <a:spcBef>
                  <a:spcPct val="0"/>
                </a:spcBef>
              </a:pPr>
              <a:t>7</a:t>
            </a:fld>
            <a:endParaRPr lang="es-ES" altLang="es-AR" sz="1300"/>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ES" altLang="es-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AR" altLang="es-AR"/>
          </a:p>
        </p:txBody>
      </p:sp>
      <p:sp>
        <p:nvSpPr>
          <p:cNvPr id="4" name="Slide Number Placeholder 3"/>
          <p:cNvSpPr>
            <a:spLocks noGrp="1"/>
          </p:cNvSpPr>
          <p:nvPr>
            <p:ph type="sldNum" sz="quarter" idx="5"/>
          </p:nvPr>
        </p:nvSpPr>
        <p:spPr/>
        <p:txBody>
          <a:bodyPr/>
          <a:lstStyle>
            <a:lvl1pPr eaLnBrk="0" hangingPunct="0">
              <a:defRPr sz="1600">
                <a:solidFill>
                  <a:srgbClr val="000000"/>
                </a:solidFill>
                <a:latin typeface="Verdana" panose="020B0604030504040204" pitchFamily="34" charset="0"/>
                <a:cs typeface="Arial" panose="020B0604020202020204" pitchFamily="34" charset="0"/>
              </a:defRPr>
            </a:lvl1pPr>
            <a:lvl2pPr marL="742950" indent="-285750" eaLnBrk="0" hangingPunct="0">
              <a:defRPr sz="1600">
                <a:solidFill>
                  <a:srgbClr val="000000"/>
                </a:solidFill>
                <a:latin typeface="Verdana" panose="020B0604030504040204" pitchFamily="34" charset="0"/>
                <a:cs typeface="Arial" panose="020B0604020202020204" pitchFamily="34" charset="0"/>
              </a:defRPr>
            </a:lvl2pPr>
            <a:lvl3pPr marL="1143000" indent="-228600" eaLnBrk="0" hangingPunct="0">
              <a:defRPr sz="1600">
                <a:solidFill>
                  <a:srgbClr val="000000"/>
                </a:solidFill>
                <a:latin typeface="Verdana" panose="020B0604030504040204" pitchFamily="34" charset="0"/>
                <a:cs typeface="Arial" panose="020B0604020202020204" pitchFamily="34" charset="0"/>
              </a:defRPr>
            </a:lvl3pPr>
            <a:lvl4pPr marL="1600200" indent="-228600" eaLnBrk="0" hangingPunct="0">
              <a:defRPr sz="1600">
                <a:solidFill>
                  <a:srgbClr val="000000"/>
                </a:solidFill>
                <a:latin typeface="Verdana" panose="020B0604030504040204" pitchFamily="34" charset="0"/>
                <a:cs typeface="Arial" panose="020B0604020202020204" pitchFamily="34" charset="0"/>
              </a:defRPr>
            </a:lvl4pPr>
            <a:lvl5pPr marL="2057400" indent="-228600" eaLnBrk="0" hangingPunct="0">
              <a:defRPr sz="1600">
                <a:solidFill>
                  <a:srgbClr val="000000"/>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Verdana" panose="020B0604030504040204" pitchFamily="34" charset="0"/>
                <a:cs typeface="Arial" panose="020B0604020202020204" pitchFamily="34" charset="0"/>
              </a:defRPr>
            </a:lvl9pPr>
          </a:lstStyle>
          <a:p>
            <a:pPr eaLnBrk="1" hangingPunct="1"/>
            <a:fld id="{C6CBDC31-3592-41CA-9084-8E943AB9BEAB}" type="slidenum">
              <a:rPr lang="es-ES" altLang="en-US" sz="1300">
                <a:solidFill>
                  <a:schemeClr val="tx1"/>
                </a:solidFill>
                <a:latin typeface="Times New Roman" panose="02020603050405020304" pitchFamily="18" charset="0"/>
              </a:rPr>
              <a:pPr eaLnBrk="1" hangingPunct="1"/>
              <a:t>8</a:t>
            </a:fld>
            <a:endParaRPr lang="es-ES" altLang="en-US" sz="1300">
              <a:solidFill>
                <a:schemeClr val="tx1"/>
              </a:solidFill>
              <a:latin typeface="Times New Roman" panose="02020603050405020304" pitchFamily="18"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AR" altLang="es-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ln/>
        </p:spPr>
      </p:sp>
      <p:sp>
        <p:nvSpPr>
          <p:cNvPr id="48131"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ES_tradnl" altLang="es-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txBox="1">
            <a:spLocks noGrp="1" noChangeArrowheads="1"/>
          </p:cNvSpPr>
          <p:nvPr/>
        </p:nvSpPr>
        <p:spPr bwMode="auto">
          <a:xfrm>
            <a:off x="4143375" y="9120188"/>
            <a:ext cx="3170238" cy="479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6661" tIns="48331" rIns="96661" bIns="48331" anchor="b"/>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lgn="r" eaLnBrk="1" hangingPunct="1">
              <a:spcBef>
                <a:spcPct val="0"/>
              </a:spcBef>
            </a:pPr>
            <a:fld id="{EE3382AB-602F-4739-BAEA-36B61BFD760F}" type="slidenum">
              <a:rPr lang="es-ES" altLang="es-AR" sz="1300"/>
              <a:pPr algn="r" eaLnBrk="1" hangingPunct="1">
                <a:spcBef>
                  <a:spcPct val="0"/>
                </a:spcBef>
              </a:pPr>
              <a:t>11</a:t>
            </a:fld>
            <a:endParaRPr lang="es-ES" altLang="es-AR" sz="1300"/>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ES_tradnl" altLang="es-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txBox="1">
            <a:spLocks noGrp="1" noChangeArrowheads="1"/>
          </p:cNvSpPr>
          <p:nvPr/>
        </p:nvSpPr>
        <p:spPr bwMode="auto">
          <a:xfrm>
            <a:off x="4143375" y="9120188"/>
            <a:ext cx="3170238" cy="479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6661" tIns="48331" rIns="96661" bIns="48331" anchor="b"/>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lgn="r" eaLnBrk="1" hangingPunct="1">
              <a:spcBef>
                <a:spcPct val="0"/>
              </a:spcBef>
            </a:pPr>
            <a:fld id="{7731DF1B-71B0-425A-A7CF-A34F3F89FB48}" type="slidenum">
              <a:rPr lang="es-ES" altLang="es-AR" sz="1300"/>
              <a:pPr algn="r" eaLnBrk="1" hangingPunct="1">
                <a:spcBef>
                  <a:spcPct val="0"/>
                </a:spcBef>
              </a:pPr>
              <a:t>12</a:t>
            </a:fld>
            <a:endParaRPr lang="es-ES" altLang="es-AR" sz="1300"/>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xfrm>
            <a:off x="974725" y="4560888"/>
            <a:ext cx="5365750" cy="4319587"/>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s-AR" altLang="es-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2" name="5 Imagen"/>
          <p:cNvPicPr>
            <a:picLocks noChangeAspect="1"/>
          </p:cNvPicPr>
          <p:nvPr userDrawn="1"/>
        </p:nvPicPr>
        <p:blipFill>
          <a:blip r:embed="rId2" cstate="print">
            <a:clrChange>
              <a:clrFrom>
                <a:srgbClr val="FFFFFE"/>
              </a:clrFrom>
              <a:clrTo>
                <a:srgbClr val="FFFFFE">
                  <a:alpha val="0"/>
                </a:srgbClr>
              </a:clrTo>
            </a:clrChange>
            <a:extLst>
              <a:ext uri="{28A0092B-C50C-407E-A947-70E740481C1C}">
                <a14:useLocalDpi xmlns="" xmlns:a14="http://schemas.microsoft.com/office/drawing/2010/main" val="0"/>
              </a:ext>
            </a:extLst>
          </a:blip>
          <a:srcRect/>
          <a:stretch>
            <a:fillRect/>
          </a:stretch>
        </p:blipFill>
        <p:spPr bwMode="auto">
          <a:xfrm>
            <a:off x="7848600" y="180975"/>
            <a:ext cx="1897063" cy="10207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15636131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endParaRPr lang="es-AR"/>
          </a:p>
        </p:txBody>
      </p:sp>
      <p:sp>
        <p:nvSpPr>
          <p:cNvPr id="3" name="5 Marcador de número de diapositiva"/>
          <p:cNvSpPr>
            <a:spLocks noGrp="1"/>
          </p:cNvSpPr>
          <p:nvPr>
            <p:ph type="sldNum" sz="quarter" idx="11"/>
          </p:nvPr>
        </p:nvSpPr>
        <p:spPr/>
        <p:txBody>
          <a:bodyPr/>
          <a:lstStyle>
            <a:lvl1pPr>
              <a:defRPr/>
            </a:lvl1pPr>
          </a:lstStyle>
          <a:p>
            <a:fld id="{C6572E81-BD6E-4016-ADFF-B1F28931498E}" type="slidenum">
              <a:rPr lang="es-ES_tradnl" altLang="en-US"/>
              <a:pPr/>
              <a:t>‹nº›</a:t>
            </a:fld>
            <a:endParaRPr lang="es-ES_tradnl" altLang="en-US"/>
          </a:p>
        </p:txBody>
      </p:sp>
    </p:spTree>
    <p:extLst>
      <p:ext uri="{BB962C8B-B14F-4D97-AF65-F5344CB8AC3E}">
        <p14:creationId xmlns="" xmlns:p14="http://schemas.microsoft.com/office/powerpoint/2010/main" val="46638220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cstate="print"/>
          <a:srcRect/>
          <a:stretch>
            <a:fillRect/>
          </a:stretch>
        </a:blipFill>
        <a:effectLst/>
      </p:bgPr>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95300" y="274638"/>
            <a:ext cx="89154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AR"/>
              <a:t>Haga clic para modificar el estilo de título del patrón</a:t>
            </a:r>
            <a:endParaRPr lang="es-AR" altLang="es-AR"/>
          </a:p>
        </p:txBody>
      </p:sp>
      <p:sp>
        <p:nvSpPr>
          <p:cNvPr id="1027" name="2 Marcador de texto"/>
          <p:cNvSpPr>
            <a:spLocks noGrp="1"/>
          </p:cNvSpPr>
          <p:nvPr>
            <p:ph type="body" idx="1"/>
          </p:nvPr>
        </p:nvSpPr>
        <p:spPr bwMode="auto">
          <a:xfrm>
            <a:off x="495300" y="1600200"/>
            <a:ext cx="89154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AR"/>
              <a:t>Haga clic para modificar el estilo de texto del patrón</a:t>
            </a:r>
          </a:p>
          <a:p>
            <a:pPr lvl="1"/>
            <a:r>
              <a:rPr lang="es-ES" altLang="es-AR"/>
              <a:t>Segundo nivel</a:t>
            </a:r>
          </a:p>
          <a:p>
            <a:pPr lvl="2"/>
            <a:r>
              <a:rPr lang="es-ES" altLang="es-AR"/>
              <a:t>Tercer nivel</a:t>
            </a:r>
          </a:p>
          <a:p>
            <a:pPr lvl="3"/>
            <a:r>
              <a:rPr lang="es-ES" altLang="es-AR"/>
              <a:t>Cuarto nivel</a:t>
            </a:r>
          </a:p>
          <a:p>
            <a:pPr lvl="4"/>
            <a:r>
              <a:rPr lang="es-ES" altLang="es-AR"/>
              <a:t>Quinto nivel</a:t>
            </a:r>
            <a:endParaRPr lang="es-AR" altLang="es-AR"/>
          </a:p>
        </p:txBody>
      </p:sp>
      <p:sp>
        <p:nvSpPr>
          <p:cNvPr id="4" name="3 Marcador de fecha"/>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fontAlgn="auto">
              <a:spcBef>
                <a:spcPts val="0"/>
              </a:spcBef>
              <a:spcAft>
                <a:spcPts val="0"/>
              </a:spcAft>
              <a:defRPr sz="2000">
                <a:solidFill>
                  <a:schemeClr val="tx1">
                    <a:tint val="75000"/>
                  </a:schemeClr>
                </a:solidFill>
                <a:latin typeface="Baskerville Old Face" pitchFamily="18" charset="0"/>
                <a:cs typeface="Arial" charset="0"/>
              </a:defRPr>
            </a:lvl1pPr>
          </a:lstStyle>
          <a:p>
            <a:pPr>
              <a:defRPr/>
            </a:pPr>
            <a:endParaRPr lang="es-AR"/>
          </a:p>
        </p:txBody>
      </p:sp>
      <p:sp>
        <p:nvSpPr>
          <p:cNvPr id="6" name="5 Marcador de número de diapositiva"/>
          <p:cNvSpPr>
            <a:spLocks noGrp="1"/>
          </p:cNvSpPr>
          <p:nvPr>
            <p:ph type="sldNum" sz="quarter" idx="4"/>
          </p:nvPr>
        </p:nvSpPr>
        <p:spPr>
          <a:xfrm>
            <a:off x="7099300" y="6356350"/>
            <a:ext cx="2311400" cy="365125"/>
          </a:xfrm>
          <a:prstGeom prst="rect">
            <a:avLst/>
          </a:prstGeom>
        </p:spPr>
        <p:txBody>
          <a:bodyPr vert="horz" wrap="square" lIns="91440" tIns="45720" rIns="91440" bIns="45720" numCol="1" anchor="ctr" anchorCtr="0" compatLnSpc="1">
            <a:prstTxWarp prst="textNoShape">
              <a:avLst/>
            </a:prstTxWarp>
          </a:bodyPr>
          <a:lstStyle>
            <a:lvl1pPr algn="r">
              <a:defRPr sz="2000">
                <a:solidFill>
                  <a:srgbClr val="898989"/>
                </a:solidFill>
                <a:latin typeface="Baskerville Old Face" panose="02020602080505020303" pitchFamily="18" charset="0"/>
              </a:defRPr>
            </a:lvl1pPr>
          </a:lstStyle>
          <a:p>
            <a:fld id="{D6F665C3-AE78-4D46-9240-97428DFE5E6D}" type="slidenum">
              <a:rPr lang="es-ES_tradnl" altLang="en-US"/>
              <a:pPr/>
              <a:t>‹nº›</a:t>
            </a:fld>
            <a:endParaRPr lang="es-ES_tradnl" altLang="en-US"/>
          </a:p>
        </p:txBody>
      </p:sp>
    </p:spTree>
  </p:cSld>
  <p:clrMap bg1="lt1" tx1="dk1" bg2="lt2" tx2="dk2" accent1="accent1" accent2="accent2" accent3="accent3" accent4="accent4" accent5="accent5" accent6="accent6" hlink="hlink" folHlink="folHlink"/>
  <p:sldLayoutIdLst>
    <p:sldLayoutId id="2147484153" r:id="rId1"/>
    <p:sldLayoutId id="2147484152" r:id="rId2"/>
  </p:sldLayoutIdLst>
  <p:hf sldNum="0" hdr="0" dt="0"/>
  <p:txStyles>
    <p:titleStyle>
      <a:lvl1pPr algn="ctr" rtl="0" eaLnBrk="0" fontAlgn="base" hangingPunct="0">
        <a:spcBef>
          <a:spcPct val="0"/>
        </a:spcBef>
        <a:spcAft>
          <a:spcPct val="0"/>
        </a:spcAft>
        <a:defRPr sz="4400" b="1" kern="1200">
          <a:solidFill>
            <a:schemeClr val="tx1"/>
          </a:solidFill>
          <a:latin typeface="Baskerville Old Face" pitchFamily="18" charset="0"/>
          <a:ea typeface="+mj-ea"/>
          <a:cs typeface="+mj-cs"/>
        </a:defRPr>
      </a:lvl1pPr>
      <a:lvl2pPr algn="ctr" rtl="0" eaLnBrk="0" fontAlgn="base" hangingPunct="0">
        <a:spcBef>
          <a:spcPct val="0"/>
        </a:spcBef>
        <a:spcAft>
          <a:spcPct val="0"/>
        </a:spcAft>
        <a:defRPr sz="4400" b="1">
          <a:solidFill>
            <a:schemeClr val="tx1"/>
          </a:solidFill>
          <a:latin typeface="Baskerville Old Face" pitchFamily="18" charset="0"/>
        </a:defRPr>
      </a:lvl2pPr>
      <a:lvl3pPr algn="ctr" rtl="0" eaLnBrk="0" fontAlgn="base" hangingPunct="0">
        <a:spcBef>
          <a:spcPct val="0"/>
        </a:spcBef>
        <a:spcAft>
          <a:spcPct val="0"/>
        </a:spcAft>
        <a:defRPr sz="4400" b="1">
          <a:solidFill>
            <a:schemeClr val="tx1"/>
          </a:solidFill>
          <a:latin typeface="Baskerville Old Face" pitchFamily="18" charset="0"/>
        </a:defRPr>
      </a:lvl3pPr>
      <a:lvl4pPr algn="ctr" rtl="0" eaLnBrk="0" fontAlgn="base" hangingPunct="0">
        <a:spcBef>
          <a:spcPct val="0"/>
        </a:spcBef>
        <a:spcAft>
          <a:spcPct val="0"/>
        </a:spcAft>
        <a:defRPr sz="4400" b="1">
          <a:solidFill>
            <a:schemeClr val="tx1"/>
          </a:solidFill>
          <a:latin typeface="Baskerville Old Face" pitchFamily="18" charset="0"/>
        </a:defRPr>
      </a:lvl4pPr>
      <a:lvl5pPr algn="ctr" rtl="0" eaLnBrk="0" fontAlgn="base" hangingPunct="0">
        <a:spcBef>
          <a:spcPct val="0"/>
        </a:spcBef>
        <a:spcAft>
          <a:spcPct val="0"/>
        </a:spcAft>
        <a:defRPr sz="4400" b="1">
          <a:solidFill>
            <a:schemeClr val="tx1"/>
          </a:solidFill>
          <a:latin typeface="Baskerville Old Face" pitchFamily="18" charset="0"/>
        </a:defRPr>
      </a:lvl5pPr>
      <a:lvl6pPr marL="457200" algn="ctr" rtl="0" eaLnBrk="1" fontAlgn="base" hangingPunct="1">
        <a:spcBef>
          <a:spcPct val="0"/>
        </a:spcBef>
        <a:spcAft>
          <a:spcPct val="0"/>
        </a:spcAft>
        <a:defRPr sz="4400" b="1">
          <a:solidFill>
            <a:schemeClr val="tx1"/>
          </a:solidFill>
          <a:latin typeface="Baskerville Old Face" pitchFamily="18" charset="0"/>
        </a:defRPr>
      </a:lvl6pPr>
      <a:lvl7pPr marL="914400" algn="ctr" rtl="0" eaLnBrk="1" fontAlgn="base" hangingPunct="1">
        <a:spcBef>
          <a:spcPct val="0"/>
        </a:spcBef>
        <a:spcAft>
          <a:spcPct val="0"/>
        </a:spcAft>
        <a:defRPr sz="4400" b="1">
          <a:solidFill>
            <a:schemeClr val="tx1"/>
          </a:solidFill>
          <a:latin typeface="Baskerville Old Face" pitchFamily="18" charset="0"/>
        </a:defRPr>
      </a:lvl7pPr>
      <a:lvl8pPr marL="1371600" algn="ctr" rtl="0" eaLnBrk="1" fontAlgn="base" hangingPunct="1">
        <a:spcBef>
          <a:spcPct val="0"/>
        </a:spcBef>
        <a:spcAft>
          <a:spcPct val="0"/>
        </a:spcAft>
        <a:defRPr sz="4400" b="1">
          <a:solidFill>
            <a:schemeClr val="tx1"/>
          </a:solidFill>
          <a:latin typeface="Baskerville Old Face" pitchFamily="18" charset="0"/>
        </a:defRPr>
      </a:lvl8pPr>
      <a:lvl9pPr marL="1828800" algn="ctr" rtl="0" eaLnBrk="1" fontAlgn="base" hangingPunct="1">
        <a:spcBef>
          <a:spcPct val="0"/>
        </a:spcBef>
        <a:spcAft>
          <a:spcPct val="0"/>
        </a:spcAft>
        <a:defRPr sz="4400" b="1">
          <a:solidFill>
            <a:schemeClr val="tx1"/>
          </a:solidFill>
          <a:latin typeface="Baskerville Old Face" pitchFamily="18"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www.celu.edu.ar/" TargetMode="Externa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6" Type="http://schemas.openxmlformats.org/officeDocument/2006/relationships/tags" Target="../tags/tag26.xml"/><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38" Type="http://schemas.openxmlformats.org/officeDocument/2006/relationships/tags" Target="../tags/tag138.xml"/><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28" Type="http://schemas.openxmlformats.org/officeDocument/2006/relationships/tags" Target="../tags/tag128.xml"/><Relationship Id="rId144" Type="http://schemas.openxmlformats.org/officeDocument/2006/relationships/tags" Target="../tags/tag144.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tags" Target="../tags/tag95.xml"/><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113" Type="http://schemas.openxmlformats.org/officeDocument/2006/relationships/tags" Target="../tags/tag113.xml"/><Relationship Id="rId118" Type="http://schemas.openxmlformats.org/officeDocument/2006/relationships/tags" Target="../tags/tag118.xml"/><Relationship Id="rId134" Type="http://schemas.openxmlformats.org/officeDocument/2006/relationships/tags" Target="../tags/tag134.xml"/><Relationship Id="rId139" Type="http://schemas.openxmlformats.org/officeDocument/2006/relationships/tags" Target="../tags/tag139.xml"/><Relationship Id="rId80" Type="http://schemas.openxmlformats.org/officeDocument/2006/relationships/tags" Target="../tags/tag80.xml"/><Relationship Id="rId85" Type="http://schemas.openxmlformats.org/officeDocument/2006/relationships/tags" Target="../tags/tag85.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tags" Target="../tags/tag103.xml"/><Relationship Id="rId108" Type="http://schemas.openxmlformats.org/officeDocument/2006/relationships/tags" Target="../tags/tag108.xml"/><Relationship Id="rId116" Type="http://schemas.openxmlformats.org/officeDocument/2006/relationships/tags" Target="../tags/tag116.xml"/><Relationship Id="rId124" Type="http://schemas.openxmlformats.org/officeDocument/2006/relationships/tags" Target="../tags/tag124.xml"/><Relationship Id="rId129" Type="http://schemas.openxmlformats.org/officeDocument/2006/relationships/tags" Target="../tags/tag129.xml"/><Relationship Id="rId137" Type="http://schemas.openxmlformats.org/officeDocument/2006/relationships/tags" Target="../tags/tag13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11" Type="http://schemas.openxmlformats.org/officeDocument/2006/relationships/tags" Target="../tags/tag111.xml"/><Relationship Id="rId132" Type="http://schemas.openxmlformats.org/officeDocument/2006/relationships/tags" Target="../tags/tag132.xml"/><Relationship Id="rId140" Type="http://schemas.openxmlformats.org/officeDocument/2006/relationships/tags" Target="../tags/tag140.xml"/><Relationship Id="rId145" Type="http://schemas.openxmlformats.org/officeDocument/2006/relationships/tags" Target="../tags/tag145.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tags" Target="../tags/tag106.xml"/><Relationship Id="rId114" Type="http://schemas.openxmlformats.org/officeDocument/2006/relationships/tags" Target="../tags/tag114.xml"/><Relationship Id="rId119" Type="http://schemas.openxmlformats.org/officeDocument/2006/relationships/tags" Target="../tags/tag119.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30" Type="http://schemas.openxmlformats.org/officeDocument/2006/relationships/tags" Target="../tags/tag130.xml"/><Relationship Id="rId135" Type="http://schemas.openxmlformats.org/officeDocument/2006/relationships/tags" Target="../tags/tag135.xml"/><Relationship Id="rId143" Type="http://schemas.openxmlformats.org/officeDocument/2006/relationships/tags" Target="../tags/tag143.xml"/><Relationship Id="rId148" Type="http://schemas.openxmlformats.org/officeDocument/2006/relationships/notesSlide" Target="../notesSlides/notesSlide23.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141" Type="http://schemas.openxmlformats.org/officeDocument/2006/relationships/tags" Target="../tags/tag141.xml"/><Relationship Id="rId146" Type="http://schemas.openxmlformats.org/officeDocument/2006/relationships/tags" Target="../tags/tag14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131" Type="http://schemas.openxmlformats.org/officeDocument/2006/relationships/tags" Target="../tags/tag131.xml"/><Relationship Id="rId136" Type="http://schemas.openxmlformats.org/officeDocument/2006/relationships/tags" Target="../tags/tag136.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slideLayout" Target="../slideLayouts/slideLayout1.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 Box 1026"/>
          <p:cNvSpPr txBox="1">
            <a:spLocks noChangeArrowheads="1"/>
          </p:cNvSpPr>
          <p:nvPr/>
        </p:nvSpPr>
        <p:spPr bwMode="auto">
          <a:xfrm>
            <a:off x="2227263" y="3124200"/>
            <a:ext cx="7662862" cy="2462213"/>
          </a:xfrm>
          <a:prstGeom prst="rect">
            <a:avLst/>
          </a:prstGeom>
          <a:noFill/>
          <a:ln w="9525">
            <a:noFill/>
            <a:miter lim="800000"/>
            <a:headEnd/>
            <a:tailEnd/>
          </a:ln>
          <a:effec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endParaRPr lang="es-ES_tradnl" sz="2800" b="1" dirty="0">
              <a:solidFill>
                <a:srgbClr val="000066"/>
              </a:solidFill>
              <a:effectLst>
                <a:outerShdw blurRad="38100" dist="38100" dir="2700000" algn="tl">
                  <a:srgbClr val="C0C0C0"/>
                </a:outerShdw>
              </a:effectLst>
              <a:latin typeface="+mj-lt"/>
            </a:endParaRPr>
          </a:p>
          <a:p>
            <a:pPr algn="ctr" eaLnBrk="1" hangingPunct="1">
              <a:spcBef>
                <a:spcPct val="50000"/>
              </a:spcBef>
              <a:defRPr/>
            </a:pPr>
            <a:endParaRPr lang="es-ES_tradnl" sz="2800" b="1" dirty="0">
              <a:solidFill>
                <a:srgbClr val="000066"/>
              </a:solidFill>
              <a:effectLst>
                <a:outerShdw blurRad="38100" dist="38100" dir="2700000" algn="tl">
                  <a:srgbClr val="C0C0C0"/>
                </a:outerShdw>
              </a:effectLst>
              <a:latin typeface="+mj-lt"/>
            </a:endParaRPr>
          </a:p>
          <a:p>
            <a:pPr algn="ctr" eaLnBrk="1" hangingPunct="1">
              <a:spcBef>
                <a:spcPct val="50000"/>
              </a:spcBef>
              <a:defRPr/>
            </a:pPr>
            <a:endParaRPr lang="es-ES_tradnl" sz="2800" b="1" dirty="0">
              <a:solidFill>
                <a:srgbClr val="000066"/>
              </a:solidFill>
              <a:effectLst>
                <a:outerShdw blurRad="38100" dist="38100" dir="2700000" algn="tl">
                  <a:srgbClr val="C0C0C0"/>
                </a:outerShdw>
              </a:effectLst>
              <a:latin typeface="+mj-lt"/>
            </a:endParaRPr>
          </a:p>
          <a:p>
            <a:pPr algn="ctr" eaLnBrk="1" hangingPunct="1">
              <a:spcBef>
                <a:spcPct val="50000"/>
              </a:spcBef>
              <a:defRPr/>
            </a:pPr>
            <a:r>
              <a:rPr lang="es-ES_tradnl" sz="2800" b="1" dirty="0">
                <a:solidFill>
                  <a:srgbClr val="000066"/>
                </a:solidFill>
                <a:effectLst>
                  <a:outerShdw blurRad="38100" dist="38100" dir="2700000" algn="tl">
                    <a:srgbClr val="C0C0C0"/>
                  </a:outerShdw>
                </a:effectLst>
                <a:latin typeface="+mj-lt"/>
              </a:rPr>
              <a:t>Consorcio Interuniversitario </a:t>
            </a:r>
            <a:r>
              <a:rPr lang="es-ES_tradnl" sz="2800" b="1" dirty="0" smtClean="0">
                <a:solidFill>
                  <a:srgbClr val="000066"/>
                </a:solidFill>
                <a:effectLst>
                  <a:outerShdw blurRad="38100" dist="38100" dir="2700000" algn="tl">
                    <a:srgbClr val="C0C0C0"/>
                  </a:outerShdw>
                </a:effectLst>
                <a:latin typeface="+mj-lt"/>
              </a:rPr>
              <a:t>ELSE</a:t>
            </a:r>
            <a:endParaRPr lang="es-ES_tradnl" sz="2800" b="1" dirty="0">
              <a:solidFill>
                <a:srgbClr val="000066"/>
              </a:solidFill>
              <a:effectLst>
                <a:outerShdw blurRad="38100" dist="38100" dir="2700000" algn="tl">
                  <a:srgbClr val="C0C0C0"/>
                </a:outerShdw>
              </a:effectLst>
              <a:latin typeface="+mj-lt"/>
            </a:endParaRPr>
          </a:p>
        </p:txBody>
      </p:sp>
      <p:pic>
        <p:nvPicPr>
          <p:cNvPr id="3075" name="1 Imagen"/>
          <p:cNvPicPr>
            <a:picLocks noChangeAspect="1"/>
          </p:cNvPicPr>
          <p:nvPr/>
        </p:nvPicPr>
        <p:blipFill>
          <a:blip r:embed="rId3" cstate="print">
            <a:clrChange>
              <a:clrFrom>
                <a:srgbClr val="FFFFFE"/>
              </a:clrFrom>
              <a:clrTo>
                <a:srgbClr val="FFFFFE">
                  <a:alpha val="0"/>
                </a:srgbClr>
              </a:clrTo>
            </a:clrChange>
            <a:extLst>
              <a:ext uri="{28A0092B-C50C-407E-A947-70E740481C1C}">
                <a14:useLocalDpi xmlns="" xmlns:a14="http://schemas.microsoft.com/office/drawing/2010/main" val="0"/>
              </a:ext>
            </a:extLst>
          </a:blip>
          <a:srcRect/>
          <a:stretch>
            <a:fillRect/>
          </a:stretch>
        </p:blipFill>
        <p:spPr bwMode="auto">
          <a:xfrm>
            <a:off x="4446588" y="1117600"/>
            <a:ext cx="3224212" cy="1733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 name="3 CuadroTexto"/>
          <p:cNvSpPr txBox="1"/>
          <p:nvPr/>
        </p:nvSpPr>
        <p:spPr>
          <a:xfrm>
            <a:off x="2755900" y="3244850"/>
            <a:ext cx="6607175" cy="966788"/>
          </a:xfrm>
          <a:prstGeom prst="rect">
            <a:avLst/>
          </a:prstGeom>
          <a:noFill/>
          <a:ln>
            <a:noFill/>
          </a:ln>
          <a:effectLst/>
        </p:spPr>
        <p:style>
          <a:lnRef idx="3">
            <a:schemeClr val="lt1"/>
          </a:lnRef>
          <a:fillRef idx="1">
            <a:schemeClr val="accent5"/>
          </a:fillRef>
          <a:effectRef idx="1">
            <a:schemeClr val="accent5"/>
          </a:effectRef>
          <a:fontRef idx="minor">
            <a:schemeClr val="lt1"/>
          </a:fontRef>
        </p:style>
        <p:txBody>
          <a:bodyPr>
            <a:spAutoFit/>
          </a:bodyPr>
          <a:lstStyle/>
          <a:p>
            <a:pPr algn="ctr">
              <a:defRPr/>
            </a:pPr>
            <a:r>
              <a:rPr lang="es-AR" sz="2800" b="1" i="1" dirty="0">
                <a:solidFill>
                  <a:srgbClr val="000066"/>
                </a:solidFill>
              </a:rPr>
              <a:t>Más de diez años consecutivos de evaluación y crecimiento</a:t>
            </a:r>
          </a:p>
        </p:txBody>
      </p:sp>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ChangeArrowheads="1"/>
          </p:cNvSpPr>
          <p:nvPr>
            <p:ph type="title" idx="4294967295"/>
          </p:nvPr>
        </p:nvSpPr>
        <p:spPr>
          <a:xfrm>
            <a:off x="488950" y="68263"/>
            <a:ext cx="8915400" cy="1143000"/>
          </a:xfrm>
        </p:spPr>
        <p:txBody>
          <a:bodyPr/>
          <a:lstStyle/>
          <a:p>
            <a:pPr eaLnBrk="1" hangingPunct="1">
              <a:defRPr/>
            </a:pPr>
            <a:r>
              <a:rPr lang="es-ES_tradnl" sz="4000" dirty="0">
                <a:solidFill>
                  <a:srgbClr val="000066"/>
                </a:solidFill>
                <a:latin typeface="+mj-lt"/>
              </a:rPr>
              <a:t>Los niveles</a:t>
            </a:r>
          </a:p>
        </p:txBody>
      </p:sp>
      <p:sp>
        <p:nvSpPr>
          <p:cNvPr id="12291" name="Slide Number Placeholder 2"/>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5B977016-59E4-4BB9-8DD1-BCD061FE46F0}" type="slidenum">
              <a:rPr lang="es-ES_tradnl" altLang="es-AR" sz="1000" i="1">
                <a:solidFill>
                  <a:srgbClr val="000000"/>
                </a:solidFill>
                <a:latin typeface="Verdana" panose="020B0604030504040204" pitchFamily="34" charset="0"/>
              </a:rPr>
              <a:pPr algn="r" eaLnBrk="1" hangingPunct="1">
                <a:spcBef>
                  <a:spcPct val="0"/>
                </a:spcBef>
                <a:buFontTx/>
                <a:buNone/>
              </a:pPr>
              <a:t>10</a:t>
            </a:fld>
            <a:endParaRPr lang="es-ES_tradnl" altLang="es-AR" sz="1000" i="1">
              <a:solidFill>
                <a:srgbClr val="000000"/>
              </a:solidFill>
              <a:latin typeface="Verdana" panose="020B0604030504040204" pitchFamily="34" charset="0"/>
            </a:endParaRPr>
          </a:p>
        </p:txBody>
      </p:sp>
      <p:sp>
        <p:nvSpPr>
          <p:cNvPr id="6" name="5 Rectángulo"/>
          <p:cNvSpPr/>
          <p:nvPr/>
        </p:nvSpPr>
        <p:spPr bwMode="auto">
          <a:xfrm>
            <a:off x="633413" y="1392238"/>
            <a:ext cx="3811587" cy="577850"/>
          </a:xfrm>
          <a:prstGeom prst="rect">
            <a:avLst/>
          </a:prstGeom>
          <a:solidFill>
            <a:srgbClr val="000066"/>
          </a:solidFill>
          <a:ln w="9525">
            <a:noFill/>
            <a:prstDash val="dash"/>
            <a:miter lim="800000"/>
            <a:headEnd/>
            <a:tailEnd/>
          </a:ln>
          <a:effectLst>
            <a:outerShdw blurRad="50800" dist="38100" dir="2700000" algn="tl" rotWithShape="0">
              <a:prstClr val="black">
                <a:alpha val="40000"/>
              </a:prstClr>
            </a:outerShdw>
          </a:effectLst>
        </p:spPr>
        <p:txBody>
          <a:bodyPr anchor="ctr"/>
          <a:lstStyle/>
          <a:p>
            <a:pPr marL="342900" indent="-342900" algn="ctr" eaLnBrk="0" hangingPunct="0">
              <a:lnSpc>
                <a:spcPct val="120000"/>
              </a:lnSpc>
              <a:spcBef>
                <a:spcPct val="50000"/>
              </a:spcBef>
              <a:buClr>
                <a:schemeClr val="accent2"/>
              </a:buClr>
              <a:buSzPct val="80000"/>
              <a:defRPr/>
            </a:pPr>
            <a:r>
              <a:rPr lang="es-ES_tradnl" sz="2400" b="1" kern="0" dirty="0">
                <a:solidFill>
                  <a:schemeClr val="bg1"/>
                </a:solidFill>
                <a:latin typeface="+mn-lt"/>
                <a:cs typeface="+mn-cs"/>
              </a:rPr>
              <a:t>Intermedio</a:t>
            </a:r>
          </a:p>
        </p:txBody>
      </p:sp>
      <p:sp>
        <p:nvSpPr>
          <p:cNvPr id="7" name="Rectangle 5"/>
          <p:cNvSpPr txBox="1">
            <a:spLocks noChangeArrowheads="1"/>
          </p:cNvSpPr>
          <p:nvPr/>
        </p:nvSpPr>
        <p:spPr bwMode="auto">
          <a:xfrm>
            <a:off x="633413" y="1970088"/>
            <a:ext cx="3811587" cy="2921000"/>
          </a:xfrm>
          <a:prstGeom prst="rect">
            <a:avLst/>
          </a:prstGeom>
          <a:solidFill>
            <a:schemeClr val="bg1"/>
          </a:solidFill>
          <a:ln w="9525">
            <a:solidFill>
              <a:srgbClr val="7295DC"/>
            </a:solidFill>
            <a:miter lim="800000"/>
            <a:headEnd/>
            <a:tailEnd/>
          </a:ln>
        </p:spPr>
        <p:txBody>
          <a:bodyPr anchor="ctr"/>
          <a:lstStyle/>
          <a:p>
            <a:pPr algn="just">
              <a:lnSpc>
                <a:spcPct val="110000"/>
              </a:lnSpc>
              <a:spcBef>
                <a:spcPct val="50000"/>
              </a:spcBef>
              <a:buClr>
                <a:schemeClr val="accent2"/>
              </a:buClr>
              <a:buSzPct val="80000"/>
              <a:defRPr/>
            </a:pPr>
            <a:r>
              <a:rPr lang="es-ES_tradnl" sz="1800" kern="0" dirty="0">
                <a:latin typeface="+mn-lt"/>
                <a:cs typeface="+mn-cs"/>
              </a:rPr>
              <a:t>El candidato </a:t>
            </a:r>
            <a:r>
              <a:rPr lang="es-ES" sz="1800" kern="0" dirty="0">
                <a:latin typeface="+mn-lt"/>
                <a:cs typeface="+mn-cs"/>
              </a:rPr>
              <a:t>puede desenvolverse oralmente y por escrito con cierta fluidez y naturalidad en situaciones familiares, sociales y de servicios.</a:t>
            </a:r>
          </a:p>
          <a:p>
            <a:pPr algn="just">
              <a:lnSpc>
                <a:spcPct val="110000"/>
              </a:lnSpc>
              <a:spcBef>
                <a:spcPct val="50000"/>
              </a:spcBef>
              <a:buClr>
                <a:schemeClr val="accent2"/>
              </a:buClr>
              <a:buSzPct val="80000"/>
              <a:defRPr/>
            </a:pPr>
            <a:r>
              <a:rPr lang="es-ES" sz="1800" kern="0" dirty="0">
                <a:latin typeface="+mn-lt"/>
                <a:cs typeface="+mn-cs"/>
              </a:rPr>
              <a:t>También puede iniciar cursos de grado universitario.</a:t>
            </a:r>
          </a:p>
          <a:p>
            <a:pPr algn="just">
              <a:lnSpc>
                <a:spcPct val="110000"/>
              </a:lnSpc>
              <a:spcBef>
                <a:spcPct val="50000"/>
              </a:spcBef>
              <a:buClr>
                <a:schemeClr val="accent2"/>
              </a:buClr>
              <a:buSzPct val="80000"/>
              <a:defRPr/>
            </a:pPr>
            <a:r>
              <a:rPr lang="es-ES" sz="1800" kern="0" dirty="0">
                <a:latin typeface="+mn-lt"/>
                <a:cs typeface="+mn-cs"/>
              </a:rPr>
              <a:t>Puede tener algunas dificultades en contextos desconocidos, en el uso de matices y en precisión.</a:t>
            </a:r>
            <a:endParaRPr lang="es-ES_tradnl" sz="1800" kern="0" dirty="0">
              <a:latin typeface="+mn-lt"/>
              <a:cs typeface="+mn-cs"/>
            </a:endParaRPr>
          </a:p>
        </p:txBody>
      </p:sp>
      <p:sp>
        <p:nvSpPr>
          <p:cNvPr id="8" name="Rectangle 5"/>
          <p:cNvSpPr txBox="1">
            <a:spLocks noChangeArrowheads="1"/>
          </p:cNvSpPr>
          <p:nvPr/>
        </p:nvSpPr>
        <p:spPr bwMode="auto">
          <a:xfrm>
            <a:off x="633413" y="5876925"/>
            <a:ext cx="3811587" cy="647700"/>
          </a:xfrm>
          <a:prstGeom prst="rect">
            <a:avLst/>
          </a:prstGeom>
          <a:solidFill>
            <a:schemeClr val="bg1"/>
          </a:solidFill>
          <a:ln w="9525">
            <a:solidFill>
              <a:srgbClr val="7295DC"/>
            </a:solidFill>
            <a:miter lim="800000"/>
            <a:headEnd/>
            <a:tailEnd/>
          </a:ln>
        </p:spPr>
        <p:txBody>
          <a:bodyPr anchor="ctr" anchorCtr="1"/>
          <a:lstStyle/>
          <a:p>
            <a:pPr algn="ctr">
              <a:lnSpc>
                <a:spcPct val="110000"/>
              </a:lnSpc>
              <a:spcBef>
                <a:spcPct val="50000"/>
              </a:spcBef>
              <a:buClr>
                <a:schemeClr val="accent2"/>
              </a:buClr>
              <a:buSzPct val="80000"/>
              <a:defRPr/>
            </a:pPr>
            <a:r>
              <a:rPr lang="es-ES" kern="0" dirty="0">
                <a:latin typeface="+mn-lt"/>
                <a:cs typeface="+mn-cs"/>
              </a:rPr>
              <a:t>Comparable a un B1+/B2 del MCER y </a:t>
            </a:r>
            <a:r>
              <a:rPr lang="es-ES" i="1" kern="0" dirty="0" err="1">
                <a:latin typeface="+mn-lt"/>
                <a:cs typeface="+mn-cs"/>
              </a:rPr>
              <a:t>Advanced</a:t>
            </a:r>
            <a:r>
              <a:rPr lang="es-ES" i="1" kern="0" dirty="0">
                <a:latin typeface="+mn-lt"/>
                <a:cs typeface="+mn-cs"/>
              </a:rPr>
              <a:t> </a:t>
            </a:r>
            <a:r>
              <a:rPr lang="es-ES" i="1" kern="0" dirty="0" err="1">
                <a:latin typeface="+mn-lt"/>
                <a:cs typeface="+mn-cs"/>
              </a:rPr>
              <a:t>Low</a:t>
            </a:r>
            <a:r>
              <a:rPr lang="es-ES" kern="0" dirty="0">
                <a:latin typeface="+mn-lt"/>
                <a:cs typeface="+mn-cs"/>
              </a:rPr>
              <a:t> del ACTFL</a:t>
            </a:r>
            <a:endParaRPr lang="es-ES_tradnl" kern="0" dirty="0">
              <a:latin typeface="+mn-lt"/>
              <a:cs typeface="+mn-cs"/>
            </a:endParaRPr>
          </a:p>
        </p:txBody>
      </p:sp>
      <p:sp>
        <p:nvSpPr>
          <p:cNvPr id="9" name="8 Flecha abajo"/>
          <p:cNvSpPr/>
          <p:nvPr/>
        </p:nvSpPr>
        <p:spPr bwMode="auto">
          <a:xfrm>
            <a:off x="1516063" y="5137150"/>
            <a:ext cx="2046287" cy="652463"/>
          </a:xfrm>
          <a:prstGeom prst="downArrow">
            <a:avLst/>
          </a:prstGeom>
          <a:solidFill>
            <a:srgbClr val="000066"/>
          </a:solidFill>
          <a:ln w="9525">
            <a:noFill/>
            <a:prstDash val="dash"/>
            <a:miter lim="800000"/>
            <a:headEnd/>
            <a:tailEnd/>
          </a:ln>
          <a:effectLst>
            <a:outerShdw blurRad="50800" dist="38100" dir="2700000" algn="tl" rotWithShape="0">
              <a:prstClr val="black">
                <a:alpha val="40000"/>
              </a:prstClr>
            </a:outerShdw>
          </a:effectLst>
        </p:spPr>
        <p:txBody>
          <a:bodyPr anchor="ctr"/>
          <a:lstStyle/>
          <a:p>
            <a:pPr marL="342900" indent="-342900" algn="ctr" eaLnBrk="0" hangingPunct="0">
              <a:lnSpc>
                <a:spcPct val="120000"/>
              </a:lnSpc>
              <a:spcBef>
                <a:spcPct val="50000"/>
              </a:spcBef>
              <a:buClr>
                <a:schemeClr val="accent2"/>
              </a:buClr>
              <a:buSzPct val="80000"/>
              <a:buFont typeface="Wingdings" pitchFamily="2" charset="2"/>
              <a:buNone/>
              <a:defRPr/>
            </a:pPr>
            <a:endParaRPr lang="es-ES_tradnl" sz="2400" kern="0">
              <a:solidFill>
                <a:schemeClr val="bg1"/>
              </a:solidFill>
              <a:latin typeface="+mn-lt"/>
              <a:cs typeface="+mn-cs"/>
            </a:endParaRPr>
          </a:p>
        </p:txBody>
      </p:sp>
      <p:sp>
        <p:nvSpPr>
          <p:cNvPr id="14" name="13 Rectángulo"/>
          <p:cNvSpPr/>
          <p:nvPr/>
        </p:nvSpPr>
        <p:spPr bwMode="auto">
          <a:xfrm>
            <a:off x="5053013" y="1392238"/>
            <a:ext cx="3813175" cy="577850"/>
          </a:xfrm>
          <a:prstGeom prst="rect">
            <a:avLst/>
          </a:prstGeom>
          <a:solidFill>
            <a:srgbClr val="000066"/>
          </a:solidFill>
          <a:ln w="9525">
            <a:noFill/>
            <a:prstDash val="dash"/>
            <a:miter lim="800000"/>
            <a:headEnd/>
            <a:tailEnd/>
          </a:ln>
          <a:effectLst>
            <a:outerShdw blurRad="50800" dist="38100" dir="2700000" algn="tl" rotWithShape="0">
              <a:prstClr val="black">
                <a:alpha val="40000"/>
              </a:prstClr>
            </a:outerShdw>
          </a:effectLst>
        </p:spPr>
        <p:txBody>
          <a:bodyPr anchor="ctr"/>
          <a:lstStyle/>
          <a:p>
            <a:pPr marL="342900" indent="-342900" algn="ctr" eaLnBrk="0" hangingPunct="0">
              <a:lnSpc>
                <a:spcPct val="120000"/>
              </a:lnSpc>
              <a:spcBef>
                <a:spcPct val="50000"/>
              </a:spcBef>
              <a:buClr>
                <a:schemeClr val="accent2"/>
              </a:buClr>
              <a:buSzPct val="80000"/>
              <a:defRPr/>
            </a:pPr>
            <a:r>
              <a:rPr lang="es-ES_tradnl" sz="2400" b="1" kern="0" dirty="0">
                <a:solidFill>
                  <a:schemeClr val="bg1"/>
                </a:solidFill>
                <a:latin typeface="+mn-lt"/>
                <a:cs typeface="+mn-cs"/>
              </a:rPr>
              <a:t>Avanzado</a:t>
            </a:r>
          </a:p>
        </p:txBody>
      </p:sp>
      <p:sp>
        <p:nvSpPr>
          <p:cNvPr id="15" name="Rectangle 5"/>
          <p:cNvSpPr txBox="1">
            <a:spLocks noChangeArrowheads="1"/>
          </p:cNvSpPr>
          <p:nvPr/>
        </p:nvSpPr>
        <p:spPr bwMode="auto">
          <a:xfrm>
            <a:off x="5053013" y="1970088"/>
            <a:ext cx="3811587" cy="2921000"/>
          </a:xfrm>
          <a:prstGeom prst="rect">
            <a:avLst/>
          </a:prstGeom>
          <a:solidFill>
            <a:schemeClr val="bg1"/>
          </a:solidFill>
          <a:ln w="9525">
            <a:solidFill>
              <a:srgbClr val="7295DC"/>
            </a:solidFill>
            <a:miter lim="800000"/>
            <a:headEnd/>
            <a:tailEnd/>
          </a:ln>
        </p:spPr>
        <p:txBody>
          <a:bodyPr anchor="ctr"/>
          <a:lstStyle/>
          <a:p>
            <a:pPr algn="just">
              <a:lnSpc>
                <a:spcPct val="110000"/>
              </a:lnSpc>
              <a:spcBef>
                <a:spcPct val="50000"/>
              </a:spcBef>
              <a:buClr>
                <a:schemeClr val="accent2"/>
              </a:buClr>
              <a:buSzPct val="80000"/>
              <a:defRPr/>
            </a:pPr>
            <a:r>
              <a:rPr lang="es-ES_tradnl" sz="1800" kern="0" dirty="0">
                <a:latin typeface="+mn-lt"/>
                <a:cs typeface="+mn-cs"/>
              </a:rPr>
              <a:t>El candidato </a:t>
            </a:r>
            <a:r>
              <a:rPr lang="es-ES" sz="1800" kern="0" dirty="0">
                <a:latin typeface="+mn-lt"/>
                <a:cs typeface="+mn-cs"/>
              </a:rPr>
              <a:t>se desempeña oralmente y por escrito de manera adecuada, cómoda y espontánea en una amplia gama de situaciones familiares y sociales, tanto en el ámbito laboral como en el ámbito  académico.</a:t>
            </a:r>
            <a:endParaRPr lang="es-ES_tradnl" sz="1800" kern="0" dirty="0">
              <a:latin typeface="+mn-lt"/>
              <a:cs typeface="+mn-cs"/>
            </a:endParaRPr>
          </a:p>
        </p:txBody>
      </p:sp>
      <p:sp>
        <p:nvSpPr>
          <p:cNvPr id="16" name="Rectangle 5"/>
          <p:cNvSpPr txBox="1">
            <a:spLocks noChangeArrowheads="1"/>
          </p:cNvSpPr>
          <p:nvPr/>
        </p:nvSpPr>
        <p:spPr bwMode="auto">
          <a:xfrm>
            <a:off x="5053013" y="5876925"/>
            <a:ext cx="3811587" cy="647700"/>
          </a:xfrm>
          <a:prstGeom prst="rect">
            <a:avLst/>
          </a:prstGeom>
          <a:solidFill>
            <a:schemeClr val="bg1"/>
          </a:solidFill>
          <a:ln w="9525">
            <a:solidFill>
              <a:srgbClr val="7295DC"/>
            </a:solidFill>
            <a:miter lim="800000"/>
            <a:headEnd/>
            <a:tailEnd/>
          </a:ln>
        </p:spPr>
        <p:txBody>
          <a:bodyPr anchor="ctr" anchorCtr="1"/>
          <a:lstStyle/>
          <a:p>
            <a:pPr algn="ctr">
              <a:lnSpc>
                <a:spcPct val="110000"/>
              </a:lnSpc>
              <a:spcBef>
                <a:spcPct val="50000"/>
              </a:spcBef>
              <a:buClr>
                <a:schemeClr val="accent2"/>
              </a:buClr>
              <a:buSzPct val="80000"/>
              <a:defRPr/>
            </a:pPr>
            <a:r>
              <a:rPr lang="es-ES" kern="0" dirty="0">
                <a:latin typeface="+mn-lt"/>
                <a:cs typeface="+mn-cs"/>
              </a:rPr>
              <a:t>Comparable a un C1/C2 del MCER y </a:t>
            </a:r>
            <a:r>
              <a:rPr lang="es-ES" i="1" kern="0" dirty="0">
                <a:latin typeface="+mn-lt"/>
                <a:cs typeface="+mn-cs"/>
              </a:rPr>
              <a:t>Superior</a:t>
            </a:r>
            <a:r>
              <a:rPr lang="es-ES" kern="0" dirty="0">
                <a:latin typeface="+mn-lt"/>
                <a:cs typeface="+mn-cs"/>
              </a:rPr>
              <a:t> del ACTFL</a:t>
            </a:r>
            <a:endParaRPr lang="es-ES_tradnl" kern="0" dirty="0">
              <a:latin typeface="+mn-lt"/>
              <a:cs typeface="+mn-cs"/>
            </a:endParaRPr>
          </a:p>
        </p:txBody>
      </p:sp>
      <p:sp>
        <p:nvSpPr>
          <p:cNvPr id="17" name="16 Flecha abajo"/>
          <p:cNvSpPr/>
          <p:nvPr/>
        </p:nvSpPr>
        <p:spPr bwMode="auto">
          <a:xfrm>
            <a:off x="5935663" y="5137150"/>
            <a:ext cx="2046287" cy="652463"/>
          </a:xfrm>
          <a:prstGeom prst="downArrow">
            <a:avLst/>
          </a:prstGeom>
          <a:solidFill>
            <a:srgbClr val="000066"/>
          </a:solidFill>
          <a:ln w="9525">
            <a:noFill/>
            <a:prstDash val="dash"/>
            <a:miter lim="800000"/>
            <a:headEnd/>
            <a:tailEnd/>
          </a:ln>
          <a:effectLst>
            <a:outerShdw blurRad="50800" dist="38100" dir="2700000" algn="tl" rotWithShape="0">
              <a:prstClr val="black">
                <a:alpha val="40000"/>
              </a:prstClr>
            </a:outerShdw>
          </a:effectLst>
        </p:spPr>
        <p:txBody>
          <a:bodyPr anchor="ctr"/>
          <a:lstStyle/>
          <a:p>
            <a:pPr marL="342900" indent="-342900" algn="ctr" eaLnBrk="0" hangingPunct="0">
              <a:lnSpc>
                <a:spcPct val="120000"/>
              </a:lnSpc>
              <a:spcBef>
                <a:spcPct val="50000"/>
              </a:spcBef>
              <a:buClr>
                <a:schemeClr val="accent2"/>
              </a:buClr>
              <a:buSzPct val="80000"/>
              <a:buFont typeface="Wingdings" pitchFamily="2" charset="2"/>
              <a:buNone/>
              <a:defRPr/>
            </a:pPr>
            <a:endParaRPr lang="es-ES_tradnl" sz="2400" kern="0">
              <a:solidFill>
                <a:schemeClr val="bg1"/>
              </a:solidFill>
              <a:latin typeface="+mn-lt"/>
              <a:cs typeface="+mn-cs"/>
            </a:endParaRPr>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Espace réservé du numéro de diapositive 2"/>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FEB8AF1D-BD65-4AB6-9893-3416A03A27FB}" type="slidenum">
              <a:rPr lang="es-ES_tradnl" altLang="es-AR" sz="1000" i="1">
                <a:solidFill>
                  <a:srgbClr val="000000"/>
                </a:solidFill>
                <a:latin typeface="Verdana" panose="020B0604030504040204" pitchFamily="34" charset="0"/>
              </a:rPr>
              <a:pPr algn="r" eaLnBrk="1" hangingPunct="1">
                <a:spcBef>
                  <a:spcPct val="0"/>
                </a:spcBef>
                <a:buFontTx/>
                <a:buNone/>
              </a:pPr>
              <a:t>11</a:t>
            </a:fld>
            <a:endParaRPr lang="es-ES_tradnl" altLang="es-AR" sz="1000" i="1">
              <a:solidFill>
                <a:srgbClr val="000000"/>
              </a:solidFill>
              <a:latin typeface="Verdana" panose="020B0604030504040204" pitchFamily="34" charset="0"/>
            </a:endParaRPr>
          </a:p>
        </p:txBody>
      </p:sp>
      <p:graphicFrame>
        <p:nvGraphicFramePr>
          <p:cNvPr id="12321" name="Group 33"/>
          <p:cNvGraphicFramePr>
            <a:graphicFrameLocks noGrp="1"/>
          </p:cNvGraphicFramePr>
          <p:nvPr/>
        </p:nvGraphicFramePr>
        <p:xfrm>
          <a:off x="415925" y="1397000"/>
          <a:ext cx="8929688" cy="4489459"/>
        </p:xfrm>
        <a:graphic>
          <a:graphicData uri="http://schemas.openxmlformats.org/drawingml/2006/table">
            <a:tbl>
              <a:tblPr/>
              <a:tblGrid>
                <a:gridCol w="1393825">
                  <a:extLst>
                    <a:ext uri="{9D8B030D-6E8A-4147-A177-3AD203B41FA5}">
                      <a16:colId xmlns:a16="http://schemas.microsoft.com/office/drawing/2014/main" xmlns="" val="20000"/>
                    </a:ext>
                  </a:extLst>
                </a:gridCol>
                <a:gridCol w="1804988">
                  <a:extLst>
                    <a:ext uri="{9D8B030D-6E8A-4147-A177-3AD203B41FA5}">
                      <a16:colId xmlns:a16="http://schemas.microsoft.com/office/drawing/2014/main" xmlns="" val="20001"/>
                    </a:ext>
                  </a:extLst>
                </a:gridCol>
                <a:gridCol w="1966912">
                  <a:extLst>
                    <a:ext uri="{9D8B030D-6E8A-4147-A177-3AD203B41FA5}">
                      <a16:colId xmlns:a16="http://schemas.microsoft.com/office/drawing/2014/main" xmlns="" val="20002"/>
                    </a:ext>
                  </a:extLst>
                </a:gridCol>
                <a:gridCol w="3763963">
                  <a:extLst>
                    <a:ext uri="{9D8B030D-6E8A-4147-A177-3AD203B41FA5}">
                      <a16:colId xmlns:a16="http://schemas.microsoft.com/office/drawing/2014/main" xmlns="" val="20003"/>
                    </a:ext>
                  </a:extLst>
                </a:gridCol>
              </a:tblGrid>
              <a:tr h="530326">
                <a:tc gridSpan="4">
                  <a:txBody>
                    <a:bodyPr/>
                    <a:lstStyle/>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2400" b="1" i="0" u="none" strike="noStrike" cap="none" normalizeH="0" baseline="0" dirty="0">
                          <a:ln>
                            <a:noFill/>
                          </a:ln>
                          <a:solidFill>
                            <a:schemeClr val="bg1"/>
                          </a:solidFill>
                          <a:effectLst>
                            <a:outerShdw blurRad="38100" dist="38100" dir="2700000" algn="tl">
                              <a:srgbClr val="000000"/>
                            </a:outerShdw>
                          </a:effectLst>
                          <a:latin typeface="+mn-lt"/>
                          <a:cs typeface="Arial" charset="0"/>
                        </a:rPr>
                        <a:t>Formato del Examen CELU</a:t>
                      </a:r>
                      <a:endParaRPr kumimoji="0" lang="es-ES" sz="2400" b="1" i="0" u="none" strike="noStrike" cap="none" normalizeH="0" baseline="0" dirty="0">
                        <a:ln>
                          <a:noFill/>
                        </a:ln>
                        <a:solidFill>
                          <a:schemeClr val="bg1"/>
                        </a:solidFill>
                        <a:effectLst>
                          <a:outerShdw blurRad="38100" dist="38100" dir="2700000" algn="tl">
                            <a:srgbClr val="000000"/>
                          </a:outerShdw>
                        </a:effectLst>
                        <a:latin typeface="+mn-lt"/>
                        <a:cs typeface="Arial" charset="0"/>
                      </a:endParaRPr>
                    </a:p>
                  </a:txBody>
                  <a:tcPr marT="45708" marB="4570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0066"/>
                    </a:solidFill>
                  </a:tcPr>
                </a:tc>
                <a:tc hMerge="1">
                  <a:txBody>
                    <a:bodyPr/>
                    <a:lstStyle/>
                    <a:p>
                      <a:endParaRPr lang="es-AR"/>
                    </a:p>
                  </a:txBody>
                  <a:tcPr/>
                </a:tc>
                <a:tc hMerge="1">
                  <a:txBody>
                    <a:bodyPr/>
                    <a:lstStyle/>
                    <a:p>
                      <a:endParaRPr lang="es-AR"/>
                    </a:p>
                  </a:txBody>
                  <a:tcPr/>
                </a:tc>
                <a:tc hMerge="1">
                  <a:txBody>
                    <a:bodyPr/>
                    <a:lstStyle/>
                    <a:p>
                      <a:endParaRPr lang="es-AR"/>
                    </a:p>
                  </a:txBody>
                  <a:tcPr/>
                </a:tc>
                <a:extLst>
                  <a:ext uri="{0D108BD9-81ED-4DB2-BD59-A6C34878D82A}">
                    <a16:rowId xmlns:a16="http://schemas.microsoft.com/office/drawing/2014/main" xmlns="" val="10000"/>
                  </a:ext>
                </a:extLst>
              </a:tr>
              <a:tr h="442784">
                <a:tc>
                  <a:txBody>
                    <a:bodyPr/>
                    <a:lstStyle/>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1" i="0" u="none" strike="noStrike" cap="none" normalizeH="0" baseline="0" dirty="0">
                          <a:ln>
                            <a:noFill/>
                          </a:ln>
                          <a:solidFill>
                            <a:schemeClr val="tx1"/>
                          </a:solidFill>
                          <a:effectLst/>
                          <a:latin typeface="+mn-lt"/>
                          <a:cs typeface="Arial" charset="0"/>
                        </a:rPr>
                        <a:t>Sección</a:t>
                      </a:r>
                      <a:endParaRPr kumimoji="0" lang="es-ES" sz="1600" b="1" i="0" u="none" strike="noStrike" cap="none" normalizeH="0" baseline="0" dirty="0">
                        <a:ln>
                          <a:noFill/>
                        </a:ln>
                        <a:solidFill>
                          <a:schemeClr val="tx1"/>
                        </a:solidFill>
                        <a:effectLst/>
                        <a:latin typeface="+mn-lt"/>
                        <a:cs typeface="Arial" charset="0"/>
                      </a:endParaRPr>
                    </a:p>
                  </a:txBody>
                  <a:tcPr marT="45708" marB="4570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rgbClr val="C9C9FF"/>
                    </a:solidFill>
                  </a:tcPr>
                </a:tc>
                <a:tc>
                  <a:txBody>
                    <a:bodyPr/>
                    <a:lstStyle/>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1" i="0" u="none" strike="noStrike" cap="none" normalizeH="0" baseline="0" dirty="0">
                          <a:ln>
                            <a:noFill/>
                          </a:ln>
                          <a:solidFill>
                            <a:schemeClr val="tx1"/>
                          </a:solidFill>
                          <a:effectLst/>
                          <a:latin typeface="+mn-lt"/>
                          <a:cs typeface="Arial" charset="0"/>
                        </a:rPr>
                        <a:t>Habilidades</a:t>
                      </a:r>
                      <a:endParaRPr kumimoji="0" lang="es-ES" sz="1600" b="1" i="0" u="none" strike="noStrike" cap="none" normalizeH="0" baseline="0" dirty="0">
                        <a:ln>
                          <a:noFill/>
                        </a:ln>
                        <a:solidFill>
                          <a:schemeClr val="tx1"/>
                        </a:solidFill>
                        <a:effectLst/>
                        <a:latin typeface="+mn-lt"/>
                        <a:cs typeface="Arial" charset="0"/>
                      </a:endParaRP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rgbClr val="C9C9FF"/>
                    </a:solidFill>
                  </a:tcPr>
                </a:tc>
                <a:tc>
                  <a:txBody>
                    <a:bodyPr/>
                    <a:lstStyle/>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1" i="0" u="none" strike="noStrike" cap="none" normalizeH="0" baseline="0" dirty="0">
                          <a:ln>
                            <a:noFill/>
                          </a:ln>
                          <a:solidFill>
                            <a:schemeClr val="tx1"/>
                          </a:solidFill>
                          <a:effectLst/>
                          <a:latin typeface="+mn-lt"/>
                          <a:cs typeface="Arial" charset="0"/>
                        </a:rPr>
                        <a:t>Tiempo</a:t>
                      </a:r>
                      <a:endParaRPr kumimoji="0" lang="es-ES" sz="1600" b="1" i="0" u="none" strike="noStrike" cap="none" normalizeH="0" baseline="0" dirty="0">
                        <a:ln>
                          <a:noFill/>
                        </a:ln>
                        <a:solidFill>
                          <a:schemeClr val="tx1"/>
                        </a:solidFill>
                        <a:effectLst/>
                        <a:latin typeface="+mn-lt"/>
                        <a:cs typeface="Arial" charset="0"/>
                      </a:endParaRP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rgbClr val="C9C9FF"/>
                    </a:solidFill>
                  </a:tcPr>
                </a:tc>
                <a:tc>
                  <a:txBody>
                    <a:bodyPr/>
                    <a:lstStyle/>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1" i="0" u="none" strike="noStrike" cap="none" normalizeH="0" baseline="0" dirty="0">
                          <a:ln>
                            <a:noFill/>
                          </a:ln>
                          <a:solidFill>
                            <a:schemeClr val="tx1"/>
                          </a:solidFill>
                          <a:effectLst/>
                          <a:latin typeface="+mn-lt"/>
                          <a:cs typeface="Arial" charset="0"/>
                        </a:rPr>
                        <a:t>Actividades</a:t>
                      </a:r>
                      <a:endParaRPr kumimoji="0" lang="es-ES" sz="1600" b="1" i="0" u="none" strike="noStrike" cap="none" normalizeH="0" baseline="0" dirty="0">
                        <a:ln>
                          <a:noFill/>
                        </a:ln>
                        <a:solidFill>
                          <a:schemeClr val="tx1"/>
                        </a:solidFill>
                        <a:effectLst/>
                        <a:latin typeface="+mn-lt"/>
                        <a:cs typeface="Arial" charset="0"/>
                      </a:endParaRPr>
                    </a:p>
                  </a:txBody>
                  <a:tcPr marT="45708" marB="4570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rgbClr val="C9C9FF"/>
                    </a:solidFill>
                  </a:tcPr>
                </a:tc>
                <a:extLst>
                  <a:ext uri="{0D108BD9-81ED-4DB2-BD59-A6C34878D82A}">
                    <a16:rowId xmlns:a16="http://schemas.microsoft.com/office/drawing/2014/main" xmlns="" val="10001"/>
                  </a:ext>
                </a:extLst>
              </a:tr>
              <a:tr h="1968977">
                <a:tc>
                  <a:txBody>
                    <a:bodyPr/>
                    <a:lstStyle/>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1" i="0" u="none" strike="noStrike" cap="none" normalizeH="0" baseline="0">
                          <a:ln>
                            <a:noFill/>
                          </a:ln>
                          <a:solidFill>
                            <a:schemeClr val="tx1"/>
                          </a:solidFill>
                          <a:effectLst/>
                          <a:latin typeface="+mn-lt"/>
                          <a:cs typeface="Arial" charset="0"/>
                        </a:rPr>
                        <a:t>Escrita</a:t>
                      </a:r>
                      <a:endParaRPr kumimoji="0" lang="es-ES" sz="1600" b="1" i="0" u="none" strike="noStrike" cap="none" normalizeH="0" baseline="0">
                        <a:ln>
                          <a:noFill/>
                        </a:ln>
                        <a:solidFill>
                          <a:schemeClr val="tx1"/>
                        </a:solidFill>
                        <a:effectLst/>
                        <a:latin typeface="+mn-lt"/>
                        <a:cs typeface="Arial" charset="0"/>
                      </a:endParaRPr>
                    </a:p>
                  </a:txBody>
                  <a:tcPr marT="45708" marB="4570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chemeClr val="bg1"/>
                    </a:solidFill>
                  </a:tcPr>
                </a:tc>
                <a:tc>
                  <a:txBody>
                    <a:bodyPr/>
                    <a:lstStyle/>
                    <a:p>
                      <a:pPr marL="177800" marR="0" lvl="0" indent="-177800" algn="l" defTabSz="914400" rtl="0" eaLnBrk="1" fontAlgn="base" latinLnBrk="0" hangingPunct="1">
                        <a:lnSpc>
                          <a:spcPct val="120000"/>
                        </a:lnSpc>
                        <a:spcBef>
                          <a:spcPct val="50000"/>
                        </a:spcBef>
                        <a:spcAft>
                          <a:spcPct val="0"/>
                        </a:spcAft>
                        <a:buClr>
                          <a:srgbClr val="003399"/>
                        </a:buClr>
                        <a:buSzPct val="80000"/>
                        <a:buFont typeface="Wingdings" pitchFamily="2" charset="2"/>
                        <a:buChar char="§"/>
                        <a:tabLst/>
                      </a:pPr>
                      <a:r>
                        <a:rPr kumimoji="0" lang="es-ES_tradnl" sz="1600" b="0" i="0" u="none" strike="noStrike" cap="none" normalizeH="0" baseline="0">
                          <a:ln>
                            <a:noFill/>
                          </a:ln>
                          <a:solidFill>
                            <a:schemeClr val="tx1"/>
                          </a:solidFill>
                          <a:effectLst/>
                          <a:latin typeface="+mn-lt"/>
                          <a:cs typeface="Arial" charset="0"/>
                        </a:rPr>
                        <a:t>Leer</a:t>
                      </a:r>
                    </a:p>
                    <a:p>
                      <a:pPr marL="177800" marR="0" lvl="0" indent="-177800" algn="l" defTabSz="914400" rtl="0" eaLnBrk="1" fontAlgn="base" latinLnBrk="0" hangingPunct="1">
                        <a:lnSpc>
                          <a:spcPct val="120000"/>
                        </a:lnSpc>
                        <a:spcBef>
                          <a:spcPct val="50000"/>
                        </a:spcBef>
                        <a:spcAft>
                          <a:spcPct val="0"/>
                        </a:spcAft>
                        <a:buClr>
                          <a:srgbClr val="003399"/>
                        </a:buClr>
                        <a:buSzPct val="80000"/>
                        <a:buFont typeface="Wingdings" pitchFamily="2" charset="2"/>
                        <a:buChar char="§"/>
                        <a:tabLst/>
                      </a:pPr>
                      <a:r>
                        <a:rPr kumimoji="0" lang="es-ES_tradnl" sz="1600" b="0" i="0" u="none" strike="noStrike" cap="none" normalizeH="0" baseline="0">
                          <a:ln>
                            <a:noFill/>
                          </a:ln>
                          <a:solidFill>
                            <a:schemeClr val="tx1"/>
                          </a:solidFill>
                          <a:effectLst/>
                          <a:latin typeface="+mn-lt"/>
                          <a:cs typeface="Arial" charset="0"/>
                        </a:rPr>
                        <a:t>Escuchar</a:t>
                      </a:r>
                    </a:p>
                    <a:p>
                      <a:pPr marL="177800" marR="0" lvl="0" indent="-177800" algn="l" defTabSz="914400" rtl="0" eaLnBrk="1" fontAlgn="base" latinLnBrk="0" hangingPunct="1">
                        <a:lnSpc>
                          <a:spcPct val="120000"/>
                        </a:lnSpc>
                        <a:spcBef>
                          <a:spcPct val="50000"/>
                        </a:spcBef>
                        <a:spcAft>
                          <a:spcPct val="0"/>
                        </a:spcAft>
                        <a:buClr>
                          <a:srgbClr val="003399"/>
                        </a:buClr>
                        <a:buSzPct val="80000"/>
                        <a:buFont typeface="Wingdings" pitchFamily="2" charset="2"/>
                        <a:buChar char="§"/>
                        <a:tabLst/>
                      </a:pPr>
                      <a:r>
                        <a:rPr kumimoji="0" lang="es-ES_tradnl" sz="1600" b="0" i="0" u="none" strike="noStrike" cap="none" normalizeH="0" baseline="0">
                          <a:ln>
                            <a:noFill/>
                          </a:ln>
                          <a:solidFill>
                            <a:schemeClr val="tx1"/>
                          </a:solidFill>
                          <a:effectLst/>
                          <a:latin typeface="+mn-lt"/>
                          <a:cs typeface="Arial" charset="0"/>
                        </a:rPr>
                        <a:t>Escribir</a:t>
                      </a:r>
                      <a:endParaRPr kumimoji="0" lang="es-ES" sz="1600" b="0" i="0" u="none" strike="noStrike" cap="none" normalizeH="0" baseline="0">
                        <a:ln>
                          <a:noFill/>
                        </a:ln>
                        <a:solidFill>
                          <a:schemeClr val="tx1"/>
                        </a:solidFill>
                        <a:effectLst/>
                        <a:latin typeface="+mn-lt"/>
                        <a:cs typeface="Arial" charset="0"/>
                      </a:endParaRP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1" i="0" u="none" strike="noStrike" cap="none" normalizeH="0" baseline="0" dirty="0">
                          <a:ln>
                            <a:noFill/>
                          </a:ln>
                          <a:solidFill>
                            <a:schemeClr val="tx1"/>
                          </a:solidFill>
                          <a:effectLst/>
                          <a:latin typeface="+mn-lt"/>
                          <a:cs typeface="Arial" charset="0"/>
                        </a:rPr>
                        <a:t>3 horas</a:t>
                      </a:r>
                      <a:endParaRPr kumimoji="0" lang="es-ES_tradnl" sz="1600" b="0" i="0" u="none" strike="noStrike" cap="none" normalizeH="0" baseline="0" dirty="0">
                        <a:ln>
                          <a:noFill/>
                        </a:ln>
                        <a:solidFill>
                          <a:schemeClr val="tx1"/>
                        </a:solidFill>
                        <a:effectLst/>
                        <a:latin typeface="+mn-lt"/>
                        <a:cs typeface="Arial" charset="0"/>
                      </a:endParaRPr>
                    </a:p>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endParaRPr kumimoji="0" lang="es-ES" sz="1600" b="0" i="0" u="none" strike="noStrike" cap="none" normalizeH="0" baseline="0" dirty="0">
                        <a:ln>
                          <a:noFill/>
                        </a:ln>
                        <a:solidFill>
                          <a:schemeClr val="tx1"/>
                        </a:solidFill>
                        <a:effectLst/>
                        <a:latin typeface="+mn-lt"/>
                        <a:cs typeface="Arial" charset="0"/>
                      </a:endParaRP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0" i="0" u="none" strike="noStrike" cap="none" normalizeH="0" baseline="0" dirty="0">
                          <a:ln>
                            <a:noFill/>
                          </a:ln>
                          <a:solidFill>
                            <a:schemeClr val="tx1"/>
                          </a:solidFill>
                          <a:effectLst/>
                          <a:latin typeface="+mn-lt"/>
                          <a:cs typeface="Arial" charset="0"/>
                        </a:rPr>
                        <a:t>Escuchar textos orales, leer y producir textos escritos, con una finalidad determinada y para interlocutores específicos. </a:t>
                      </a:r>
                    </a:p>
                    <a:p>
                      <a:pPr marL="0" marR="0" lvl="0" indent="0" algn="l"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0" i="0" u="none" strike="noStrike" cap="none" normalizeH="0" baseline="0" dirty="0">
                          <a:ln>
                            <a:noFill/>
                          </a:ln>
                          <a:solidFill>
                            <a:schemeClr val="tx1"/>
                          </a:solidFill>
                          <a:effectLst/>
                          <a:latin typeface="+mn-lt"/>
                          <a:cs typeface="Arial" charset="0"/>
                        </a:rPr>
                        <a:t>No se presentan preguntas concretas sobre la lengua y su gramática.</a:t>
                      </a:r>
                      <a:endParaRPr kumimoji="0" lang="es-ES" sz="1600" b="0" i="0" u="none" strike="noStrike" cap="none" normalizeH="0" baseline="0" dirty="0">
                        <a:ln>
                          <a:noFill/>
                        </a:ln>
                        <a:solidFill>
                          <a:schemeClr val="tx1"/>
                        </a:solidFill>
                        <a:effectLst/>
                        <a:latin typeface="+mn-lt"/>
                        <a:cs typeface="Arial" charset="0"/>
                      </a:endParaRPr>
                    </a:p>
                  </a:txBody>
                  <a:tcPr marT="45708" marB="4570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2"/>
                  </a:ext>
                </a:extLst>
              </a:tr>
              <a:tr h="1547363">
                <a:tc>
                  <a:txBody>
                    <a:bodyPr/>
                    <a:lstStyle/>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1" i="0" u="none" strike="noStrike" cap="none" normalizeH="0" baseline="0">
                          <a:ln>
                            <a:noFill/>
                          </a:ln>
                          <a:solidFill>
                            <a:schemeClr val="tx1"/>
                          </a:solidFill>
                          <a:effectLst/>
                          <a:latin typeface="+mn-lt"/>
                          <a:cs typeface="Arial" charset="0"/>
                        </a:rPr>
                        <a:t>Oral</a:t>
                      </a:r>
                      <a:endParaRPr kumimoji="0" lang="es-ES" sz="1600" b="1" i="0" u="none" strike="noStrike" cap="none" normalizeH="0" baseline="0">
                        <a:ln>
                          <a:noFill/>
                        </a:ln>
                        <a:solidFill>
                          <a:schemeClr val="tx1"/>
                        </a:solidFill>
                        <a:effectLst/>
                        <a:latin typeface="+mn-lt"/>
                        <a:cs typeface="Arial" charset="0"/>
                      </a:endParaRPr>
                    </a:p>
                  </a:txBody>
                  <a:tcPr marT="45708" marB="4570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7800" marR="0" lvl="0" indent="-177800" algn="l" defTabSz="914400" rtl="0" eaLnBrk="1" fontAlgn="base" latinLnBrk="0" hangingPunct="1">
                        <a:lnSpc>
                          <a:spcPct val="120000"/>
                        </a:lnSpc>
                        <a:spcBef>
                          <a:spcPct val="50000"/>
                        </a:spcBef>
                        <a:spcAft>
                          <a:spcPct val="0"/>
                        </a:spcAft>
                        <a:buClr>
                          <a:srgbClr val="003399"/>
                        </a:buClr>
                        <a:buSzPct val="80000"/>
                        <a:buFont typeface="Wingdings" pitchFamily="2" charset="2"/>
                        <a:buChar char="§"/>
                        <a:tabLst/>
                      </a:pPr>
                      <a:r>
                        <a:rPr kumimoji="0" lang="es-ES_tradnl" sz="1600" b="0" i="0" u="none" strike="noStrike" cap="none" normalizeH="0" baseline="0">
                          <a:ln>
                            <a:noFill/>
                          </a:ln>
                          <a:solidFill>
                            <a:schemeClr val="tx1"/>
                          </a:solidFill>
                          <a:effectLst/>
                          <a:latin typeface="+mn-lt"/>
                          <a:cs typeface="Arial" charset="0"/>
                        </a:rPr>
                        <a:t>Leer</a:t>
                      </a:r>
                    </a:p>
                    <a:p>
                      <a:pPr marL="177800" marR="0" lvl="0" indent="-177800" algn="l" defTabSz="914400" rtl="0" eaLnBrk="1" fontAlgn="base" latinLnBrk="0" hangingPunct="1">
                        <a:lnSpc>
                          <a:spcPct val="120000"/>
                        </a:lnSpc>
                        <a:spcBef>
                          <a:spcPct val="50000"/>
                        </a:spcBef>
                        <a:spcAft>
                          <a:spcPct val="0"/>
                        </a:spcAft>
                        <a:buClr>
                          <a:srgbClr val="003399"/>
                        </a:buClr>
                        <a:buSzPct val="80000"/>
                        <a:buFont typeface="Wingdings" pitchFamily="2" charset="2"/>
                        <a:buChar char="§"/>
                        <a:tabLst/>
                      </a:pPr>
                      <a:r>
                        <a:rPr kumimoji="0" lang="es-ES_tradnl" sz="1600" b="0" i="0" u="none" strike="noStrike" cap="none" normalizeH="0" baseline="0">
                          <a:ln>
                            <a:noFill/>
                          </a:ln>
                          <a:solidFill>
                            <a:schemeClr val="tx1"/>
                          </a:solidFill>
                          <a:effectLst/>
                          <a:latin typeface="+mn-lt"/>
                          <a:cs typeface="Arial" charset="0"/>
                        </a:rPr>
                        <a:t>Escuchar</a:t>
                      </a:r>
                    </a:p>
                    <a:p>
                      <a:pPr marL="177800" marR="0" lvl="0" indent="-177800" algn="l" defTabSz="914400" rtl="0" eaLnBrk="1" fontAlgn="base" latinLnBrk="0" hangingPunct="1">
                        <a:lnSpc>
                          <a:spcPct val="120000"/>
                        </a:lnSpc>
                        <a:spcBef>
                          <a:spcPct val="50000"/>
                        </a:spcBef>
                        <a:spcAft>
                          <a:spcPct val="0"/>
                        </a:spcAft>
                        <a:buClr>
                          <a:srgbClr val="003399"/>
                        </a:buClr>
                        <a:buSzPct val="80000"/>
                        <a:buFont typeface="Wingdings" pitchFamily="2" charset="2"/>
                        <a:buChar char="§"/>
                        <a:tabLst/>
                      </a:pPr>
                      <a:r>
                        <a:rPr kumimoji="0" lang="es-ES_tradnl" sz="1600" b="0" i="0" u="none" strike="noStrike" cap="none" normalizeH="0" baseline="0">
                          <a:ln>
                            <a:noFill/>
                          </a:ln>
                          <a:solidFill>
                            <a:schemeClr val="tx1"/>
                          </a:solidFill>
                          <a:effectLst/>
                          <a:latin typeface="+mn-lt"/>
                          <a:cs typeface="Arial" charset="0"/>
                        </a:rPr>
                        <a:t>Hablar / Interactuar</a:t>
                      </a:r>
                      <a:endParaRPr kumimoji="0" lang="es-ES" sz="1600" b="0" i="0" u="none" strike="noStrike" cap="none" normalizeH="0" baseline="0">
                        <a:ln>
                          <a:noFill/>
                        </a:ln>
                        <a:solidFill>
                          <a:schemeClr val="tx1"/>
                        </a:solidFill>
                        <a:effectLst/>
                        <a:latin typeface="+mn-lt"/>
                        <a:cs typeface="Arial" charset="0"/>
                      </a:endParaRP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1" i="0" u="none" strike="noStrike" cap="none" normalizeH="0" baseline="0">
                          <a:ln>
                            <a:noFill/>
                          </a:ln>
                          <a:solidFill>
                            <a:schemeClr val="tx1"/>
                          </a:solidFill>
                          <a:effectLst/>
                          <a:latin typeface="+mn-lt"/>
                          <a:cs typeface="Arial" charset="0"/>
                        </a:rPr>
                        <a:t>15 a 20 minutos.</a:t>
                      </a:r>
                      <a:r>
                        <a:rPr kumimoji="0" lang="es-ES_tradnl" sz="1600" b="0" i="0" u="none" strike="noStrike" cap="none" normalizeH="0" baseline="0">
                          <a:ln>
                            <a:noFill/>
                          </a:ln>
                          <a:solidFill>
                            <a:schemeClr val="tx1"/>
                          </a:solidFill>
                          <a:effectLst/>
                          <a:latin typeface="+mn-lt"/>
                          <a:cs typeface="Arial" charset="0"/>
                        </a:rPr>
                        <a:t> </a:t>
                      </a: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20000"/>
                        </a:lnSpc>
                        <a:spcBef>
                          <a:spcPct val="50000"/>
                        </a:spcBef>
                        <a:spcAft>
                          <a:spcPct val="0"/>
                        </a:spcAft>
                        <a:buClr>
                          <a:schemeClr val="accent2"/>
                        </a:buClr>
                        <a:buSzPct val="80000"/>
                        <a:buFont typeface="Wingdings" pitchFamily="2" charset="2"/>
                        <a:buNone/>
                        <a:tabLst/>
                      </a:pPr>
                      <a:r>
                        <a:rPr kumimoji="0" lang="es-ES_tradnl" sz="1600" b="0" i="0" u="none" strike="noStrike" cap="none" normalizeH="0" baseline="0" dirty="0">
                          <a:ln>
                            <a:noFill/>
                          </a:ln>
                          <a:solidFill>
                            <a:schemeClr val="tx1"/>
                          </a:solidFill>
                          <a:effectLst/>
                          <a:latin typeface="+mn-lt"/>
                          <a:cs typeface="Arial" charset="0"/>
                        </a:rPr>
                        <a:t>Leer textos breves, exponer y conversar e interactuar a propósito de ellos. </a:t>
                      </a:r>
                      <a:endParaRPr kumimoji="0" lang="es-ES" sz="1600" b="0" i="0" u="none" strike="noStrike" cap="none" normalizeH="0" baseline="0" dirty="0">
                        <a:ln>
                          <a:noFill/>
                        </a:ln>
                        <a:solidFill>
                          <a:schemeClr val="tx1"/>
                        </a:solidFill>
                        <a:effectLst/>
                        <a:latin typeface="+mn-lt"/>
                        <a:cs typeface="Arial" charset="0"/>
                      </a:endParaRPr>
                    </a:p>
                  </a:txBody>
                  <a:tcPr marT="45708" marB="4570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3"/>
                  </a:ext>
                </a:extLst>
              </a:tr>
            </a:tbl>
          </a:graphicData>
        </a:graphic>
      </p:graphicFrame>
      <p:sp>
        <p:nvSpPr>
          <p:cNvPr id="36890" name="Rectangle 121"/>
          <p:cNvSpPr>
            <a:spLocks noGrp="1" noChangeArrowheads="1"/>
          </p:cNvSpPr>
          <p:nvPr>
            <p:ph type="title" idx="4294967295"/>
          </p:nvPr>
        </p:nvSpPr>
        <p:spPr>
          <a:xfrm>
            <a:off x="863600" y="325438"/>
            <a:ext cx="8086725" cy="633412"/>
          </a:xfrm>
        </p:spPr>
        <p:txBody>
          <a:bodyPr/>
          <a:lstStyle/>
          <a:p>
            <a:pPr eaLnBrk="1" hangingPunct="1">
              <a:defRPr/>
            </a:pPr>
            <a:r>
              <a:rPr lang="es-ES_tradnl" sz="4000" dirty="0">
                <a:solidFill>
                  <a:srgbClr val="000066"/>
                </a:solidFill>
                <a:latin typeface="+mj-lt"/>
              </a:rPr>
              <a:t>¿Cómo es el examen? </a:t>
            </a: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Espace réservé du numéro de diapositive 3"/>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748C292D-8E4E-41D8-A4AC-AC2CA27CB668}" type="slidenum">
              <a:rPr lang="es-ES_tradnl" altLang="es-AR" sz="1000" i="1">
                <a:solidFill>
                  <a:srgbClr val="000000"/>
                </a:solidFill>
                <a:latin typeface="Verdana" panose="020B0604030504040204" pitchFamily="34" charset="0"/>
              </a:rPr>
              <a:pPr algn="r" eaLnBrk="1" hangingPunct="1">
                <a:spcBef>
                  <a:spcPct val="0"/>
                </a:spcBef>
                <a:buFontTx/>
                <a:buNone/>
              </a:pPr>
              <a:t>12</a:t>
            </a:fld>
            <a:endParaRPr lang="es-ES_tradnl" altLang="es-AR" sz="1000" i="1">
              <a:solidFill>
                <a:srgbClr val="000000"/>
              </a:solidFill>
              <a:latin typeface="Verdana" panose="020B0604030504040204" pitchFamily="34" charset="0"/>
            </a:endParaRPr>
          </a:p>
        </p:txBody>
      </p:sp>
      <p:sp>
        <p:nvSpPr>
          <p:cNvPr id="28674" name="Rectangle 2"/>
          <p:cNvSpPr>
            <a:spLocks noGrp="1" noChangeArrowheads="1"/>
          </p:cNvSpPr>
          <p:nvPr>
            <p:ph type="title" idx="4294967295"/>
          </p:nvPr>
        </p:nvSpPr>
        <p:spPr>
          <a:xfrm>
            <a:off x="1249363" y="320675"/>
            <a:ext cx="7418387" cy="1250950"/>
          </a:xfrm>
        </p:spPr>
        <p:txBody>
          <a:bodyPr/>
          <a:lstStyle/>
          <a:p>
            <a:pPr eaLnBrk="1" hangingPunct="1">
              <a:defRPr/>
            </a:pPr>
            <a:r>
              <a:rPr lang="es-ES_tradnl" sz="4000" dirty="0">
                <a:solidFill>
                  <a:srgbClr val="000066"/>
                </a:solidFill>
                <a:latin typeface="+mn-lt"/>
              </a:rPr>
              <a:t>¿Qué hay que hacer? </a:t>
            </a:r>
            <a:br>
              <a:rPr lang="es-ES_tradnl" sz="4000" dirty="0">
                <a:solidFill>
                  <a:srgbClr val="000066"/>
                </a:solidFill>
                <a:latin typeface="+mn-lt"/>
              </a:rPr>
            </a:br>
            <a:r>
              <a:rPr lang="es-ES_tradnl" sz="4000" dirty="0">
                <a:solidFill>
                  <a:srgbClr val="000066"/>
                </a:solidFill>
                <a:latin typeface="+mn-lt"/>
              </a:rPr>
              <a:t>Ejemplos de propuestas</a:t>
            </a:r>
          </a:p>
        </p:txBody>
      </p:sp>
      <p:sp>
        <p:nvSpPr>
          <p:cNvPr id="28675" name="Rectangle 3"/>
          <p:cNvSpPr>
            <a:spLocks noGrp="1" noChangeArrowheads="1"/>
          </p:cNvSpPr>
          <p:nvPr>
            <p:ph type="body" idx="4294967295"/>
          </p:nvPr>
        </p:nvSpPr>
        <p:spPr>
          <a:xfrm>
            <a:off x="1957388" y="1909763"/>
            <a:ext cx="7497762" cy="4357687"/>
          </a:xfrm>
          <a:solidFill>
            <a:schemeClr val="accent5">
              <a:lumMod val="40000"/>
              <a:lumOff val="60000"/>
            </a:schemeClr>
          </a:solidFill>
        </p:spPr>
        <p:txBody>
          <a:bodyPr/>
          <a:lstStyle/>
          <a:p>
            <a:pPr eaLnBrk="1" hangingPunct="1">
              <a:buFont typeface="Wingdings" pitchFamily="2" charset="2"/>
              <a:buNone/>
              <a:defRPr/>
            </a:pPr>
            <a:endParaRPr lang="es-ES_tradnl" sz="900">
              <a:solidFill>
                <a:srgbClr val="000066"/>
              </a:solidFill>
            </a:endParaRPr>
          </a:p>
          <a:p>
            <a:pPr eaLnBrk="1" hangingPunct="1">
              <a:buFont typeface="Wingdings" pitchFamily="2" charset="2"/>
              <a:buNone/>
              <a:defRPr/>
            </a:pPr>
            <a:r>
              <a:rPr lang="es-ES_tradnl" sz="2400">
                <a:solidFill>
                  <a:srgbClr val="000066"/>
                </a:solidFill>
              </a:rPr>
              <a:t>Algunas de las actividades escritas u orales:</a:t>
            </a:r>
          </a:p>
          <a:p>
            <a:pPr eaLnBrk="1" hangingPunct="1">
              <a:buFont typeface="Wingdings" pitchFamily="2" charset="2"/>
              <a:buNone/>
              <a:defRPr/>
            </a:pPr>
            <a:endParaRPr lang="es-ES_tradnl" sz="900">
              <a:solidFill>
                <a:srgbClr val="000066"/>
              </a:solidFill>
            </a:endParaRPr>
          </a:p>
          <a:p>
            <a:pPr lvl="1" eaLnBrk="1" hangingPunct="1">
              <a:buFont typeface="Arial" charset="0"/>
              <a:buChar char="–"/>
              <a:defRPr/>
            </a:pPr>
            <a:r>
              <a:rPr lang="es-ES_tradnl" sz="2400" b="1">
                <a:solidFill>
                  <a:srgbClr val="000066"/>
                </a:solidFill>
              </a:rPr>
              <a:t>Escuchar una entrevista radial y escribir una noticia.</a:t>
            </a:r>
          </a:p>
          <a:p>
            <a:pPr lvl="1" eaLnBrk="1" hangingPunct="1">
              <a:buFont typeface="Arial" charset="0"/>
              <a:buChar char="–"/>
              <a:defRPr/>
            </a:pPr>
            <a:r>
              <a:rPr lang="es-ES_tradnl" sz="2400" b="1">
                <a:solidFill>
                  <a:srgbClr val="000066"/>
                </a:solidFill>
              </a:rPr>
              <a:t>Leer un artículo periodístico y escribir una carta familiar. </a:t>
            </a:r>
          </a:p>
          <a:p>
            <a:pPr lvl="1" eaLnBrk="1" hangingPunct="1">
              <a:buFont typeface="Arial" charset="0"/>
              <a:buChar char="–"/>
              <a:defRPr/>
            </a:pPr>
            <a:r>
              <a:rPr lang="es-ES_tradnl" sz="2400" b="1">
                <a:solidFill>
                  <a:srgbClr val="000066"/>
                </a:solidFill>
              </a:rPr>
              <a:t>Leer un folleto y escribir una carta de lectores.</a:t>
            </a:r>
          </a:p>
          <a:p>
            <a:pPr lvl="1" eaLnBrk="1" hangingPunct="1">
              <a:buFont typeface="Arial" charset="0"/>
              <a:buChar char="–"/>
              <a:defRPr/>
            </a:pPr>
            <a:r>
              <a:rPr lang="es-ES_tradnl" sz="2400" b="1">
                <a:solidFill>
                  <a:srgbClr val="000066"/>
                </a:solidFill>
              </a:rPr>
              <a:t>Leer un artículo de difusión y escribir un aviso de publicidad.</a:t>
            </a:r>
          </a:p>
          <a:p>
            <a:pPr lvl="1" eaLnBrk="1" hangingPunct="1">
              <a:buFont typeface="Arial" charset="0"/>
              <a:buChar char="–"/>
              <a:defRPr/>
            </a:pPr>
            <a:r>
              <a:rPr lang="es-ES_tradnl" sz="2400" b="1">
                <a:solidFill>
                  <a:srgbClr val="000066"/>
                </a:solidFill>
              </a:rPr>
              <a:t>Observar una publicidad, comentarla y dialogar acerca de ella.</a:t>
            </a:r>
          </a:p>
        </p:txBody>
      </p:sp>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2 Título"/>
          <p:cNvSpPr>
            <a:spLocks noGrp="1"/>
          </p:cNvSpPr>
          <p:nvPr>
            <p:ph type="title" idx="4294967295"/>
          </p:nvPr>
        </p:nvSpPr>
        <p:spPr>
          <a:xfrm>
            <a:off x="488950" y="80963"/>
            <a:ext cx="8915400" cy="1143000"/>
          </a:xfrm>
        </p:spPr>
        <p:txBody>
          <a:bodyPr/>
          <a:lstStyle/>
          <a:p>
            <a:pPr eaLnBrk="1" hangingPunct="1">
              <a:defRPr/>
            </a:pPr>
            <a:r>
              <a:rPr lang="es-ES_tradnl" sz="4000" dirty="0">
                <a:solidFill>
                  <a:srgbClr val="000066"/>
                </a:solidFill>
                <a:latin typeface="+mn-lt"/>
              </a:rPr>
              <a:t>Partes del examen</a:t>
            </a:r>
            <a:endParaRPr lang="es-AR" sz="4000" dirty="0">
              <a:solidFill>
                <a:srgbClr val="000066"/>
              </a:solidFill>
              <a:latin typeface="+mn-lt"/>
            </a:endParaRPr>
          </a:p>
        </p:txBody>
      </p:sp>
      <p:sp>
        <p:nvSpPr>
          <p:cNvPr id="38916" name="Rectangle 9"/>
          <p:cNvSpPr txBox="1">
            <a:spLocks noChangeArrowheads="1"/>
          </p:cNvSpPr>
          <p:nvPr/>
        </p:nvSpPr>
        <p:spPr bwMode="auto">
          <a:xfrm>
            <a:off x="966788" y="1303338"/>
            <a:ext cx="8293100" cy="5011737"/>
          </a:xfrm>
          <a:prstGeom prst="rect">
            <a:avLst/>
          </a:prstGeom>
          <a:solidFill>
            <a:schemeClr val="accent5">
              <a:lumMod val="40000"/>
              <a:lumOff val="60000"/>
            </a:schemeClr>
          </a:solidFill>
          <a:ln w="9525">
            <a:noFill/>
            <a:miter lim="800000"/>
            <a:headEnd/>
            <a:tailEnd/>
          </a:ln>
        </p:spPr>
        <p:txBody>
          <a:bodyPr/>
          <a:lstStyle>
            <a:lvl1pPr marL="342900" indent="-342900" eaLnBrk="0" hangingPunct="0">
              <a:defRPr sz="1600">
                <a:solidFill>
                  <a:srgbClr val="000000"/>
                </a:solidFill>
                <a:latin typeface="Verdana" pitchFamily="34" charset="0"/>
                <a:cs typeface="Arial" charset="0"/>
              </a:defRPr>
            </a:lvl1pPr>
            <a:lvl2pPr eaLnBrk="0" hangingPunct="0">
              <a:defRPr sz="1600">
                <a:solidFill>
                  <a:srgbClr val="000000"/>
                </a:solidFill>
                <a:latin typeface="Verdana" pitchFamily="34" charset="0"/>
                <a:cs typeface="Arial" charset="0"/>
              </a:defRPr>
            </a:lvl2pPr>
            <a:lvl3pPr marL="1257300" indent="-3429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lvl="1" algn="just" eaLnBrk="1" hangingPunct="1">
              <a:lnSpc>
                <a:spcPct val="110000"/>
              </a:lnSpc>
              <a:spcBef>
                <a:spcPct val="20000"/>
              </a:spcBef>
              <a:buFont typeface="Arial" charset="0"/>
              <a:buNone/>
              <a:defRPr/>
            </a:pPr>
            <a:endParaRPr lang="es-ES_tradnl" sz="2200" dirty="0">
              <a:solidFill>
                <a:srgbClr val="000066"/>
              </a:solidFill>
              <a:latin typeface="Calibri" pitchFamily="34" charset="0"/>
            </a:endParaRPr>
          </a:p>
          <a:p>
            <a:pPr lvl="1" algn="just" eaLnBrk="1" hangingPunct="1">
              <a:lnSpc>
                <a:spcPct val="110000"/>
              </a:lnSpc>
              <a:spcBef>
                <a:spcPct val="20000"/>
              </a:spcBef>
              <a:buFont typeface="Arial" charset="0"/>
              <a:buNone/>
              <a:defRPr/>
            </a:pPr>
            <a:r>
              <a:rPr lang="es-ES_tradnl" sz="2200" dirty="0">
                <a:solidFill>
                  <a:srgbClr val="000066"/>
                </a:solidFill>
                <a:latin typeface="Calibri" pitchFamily="34" charset="0"/>
              </a:rPr>
              <a:t>La </a:t>
            </a:r>
            <a:r>
              <a:rPr lang="es-ES_tradnl" sz="2200" b="1" dirty="0">
                <a:solidFill>
                  <a:srgbClr val="000066"/>
                </a:solidFill>
                <a:latin typeface="Calibri" pitchFamily="34" charset="0"/>
              </a:rPr>
              <a:t>sección escrita</a:t>
            </a:r>
            <a:r>
              <a:rPr lang="es-ES_tradnl" sz="2200" dirty="0">
                <a:solidFill>
                  <a:srgbClr val="000066"/>
                </a:solidFill>
                <a:latin typeface="Calibri" pitchFamily="34" charset="0"/>
              </a:rPr>
              <a:t> consta de </a:t>
            </a:r>
            <a:r>
              <a:rPr lang="es-ES_tradnl" sz="2200" u="sng" dirty="0">
                <a:solidFill>
                  <a:srgbClr val="000066"/>
                </a:solidFill>
                <a:latin typeface="Calibri" pitchFamily="34" charset="0"/>
              </a:rPr>
              <a:t>cuatro tareas</a:t>
            </a:r>
            <a:r>
              <a:rPr lang="es-ES_tradnl" sz="2200" dirty="0">
                <a:solidFill>
                  <a:srgbClr val="000066"/>
                </a:solidFill>
                <a:latin typeface="Calibri" pitchFamily="34" charset="0"/>
              </a:rPr>
              <a:t> que pueden involucrar diferentes géneros discursivos (dados y pedidos) y registros; con propósitos similares a los del uso de la lengua en la vida real.</a:t>
            </a:r>
          </a:p>
          <a:p>
            <a:pPr lvl="1" algn="just" eaLnBrk="1" hangingPunct="1">
              <a:lnSpc>
                <a:spcPct val="110000"/>
              </a:lnSpc>
              <a:spcBef>
                <a:spcPct val="20000"/>
              </a:spcBef>
              <a:buFont typeface="Arial" charset="0"/>
              <a:buNone/>
              <a:defRPr/>
            </a:pPr>
            <a:endParaRPr lang="es-ES_tradnl" sz="2200" dirty="0">
              <a:solidFill>
                <a:srgbClr val="000066"/>
              </a:solidFill>
              <a:latin typeface="Calibri" pitchFamily="34" charset="0"/>
            </a:endParaRPr>
          </a:p>
          <a:p>
            <a:pPr lvl="1" algn="just" eaLnBrk="1" hangingPunct="1">
              <a:lnSpc>
                <a:spcPct val="110000"/>
              </a:lnSpc>
              <a:spcBef>
                <a:spcPct val="20000"/>
              </a:spcBef>
              <a:buFont typeface="Arial" charset="0"/>
              <a:buNone/>
              <a:defRPr/>
            </a:pPr>
            <a:r>
              <a:rPr lang="es-ES_tradnl" sz="2200" dirty="0">
                <a:solidFill>
                  <a:srgbClr val="000066"/>
                </a:solidFill>
                <a:latin typeface="Calibri" pitchFamily="34" charset="0"/>
              </a:rPr>
              <a:t>La </a:t>
            </a:r>
            <a:r>
              <a:rPr lang="es-ES_tradnl" sz="2200" b="1" dirty="0">
                <a:solidFill>
                  <a:srgbClr val="000066"/>
                </a:solidFill>
                <a:latin typeface="Calibri" pitchFamily="34" charset="0"/>
              </a:rPr>
              <a:t>sección oral</a:t>
            </a:r>
            <a:r>
              <a:rPr lang="es-ES_tradnl" sz="2200" dirty="0">
                <a:solidFill>
                  <a:srgbClr val="000066"/>
                </a:solidFill>
                <a:latin typeface="Calibri" pitchFamily="34" charset="0"/>
              </a:rPr>
              <a:t> se desarrolla en tres partes:</a:t>
            </a:r>
          </a:p>
          <a:p>
            <a:pPr lvl="1" algn="just" eaLnBrk="1" hangingPunct="1">
              <a:lnSpc>
                <a:spcPct val="110000"/>
              </a:lnSpc>
              <a:spcBef>
                <a:spcPct val="20000"/>
              </a:spcBef>
              <a:buFont typeface="Arial" charset="0"/>
              <a:buNone/>
              <a:defRPr/>
            </a:pPr>
            <a:endParaRPr lang="es-ES_tradnl" sz="400" dirty="0">
              <a:solidFill>
                <a:srgbClr val="000066"/>
              </a:solidFill>
              <a:latin typeface="Calibri" pitchFamily="34" charset="0"/>
            </a:endParaRPr>
          </a:p>
          <a:p>
            <a:pPr marL="1371600" lvl="2" indent="-457200" algn="just" eaLnBrk="1" hangingPunct="1">
              <a:lnSpc>
                <a:spcPct val="110000"/>
              </a:lnSpc>
              <a:spcBef>
                <a:spcPct val="20000"/>
              </a:spcBef>
              <a:buFont typeface="+mj-lt"/>
              <a:buAutoNum type="arabicPeriod"/>
              <a:defRPr/>
            </a:pPr>
            <a:r>
              <a:rPr lang="es-ES_tradnl" sz="2000" b="1" dirty="0">
                <a:solidFill>
                  <a:srgbClr val="000066"/>
                </a:solidFill>
                <a:latin typeface="Calibri" pitchFamily="34" charset="0"/>
              </a:rPr>
              <a:t>Presentación: </a:t>
            </a:r>
            <a:r>
              <a:rPr lang="es-ES_tradnl" sz="2000" dirty="0">
                <a:solidFill>
                  <a:srgbClr val="000066"/>
                </a:solidFill>
                <a:latin typeface="Calibri" pitchFamily="34" charset="0"/>
              </a:rPr>
              <a:t>el profesor y el candidato se presentan, en un breve intercambio;</a:t>
            </a:r>
          </a:p>
          <a:p>
            <a:pPr marL="1371600" lvl="2" indent="-457200" algn="just" eaLnBrk="1" hangingPunct="1">
              <a:lnSpc>
                <a:spcPct val="110000"/>
              </a:lnSpc>
              <a:spcBef>
                <a:spcPct val="20000"/>
              </a:spcBef>
              <a:buFont typeface="+mj-lt"/>
              <a:buAutoNum type="arabicPeriod"/>
              <a:defRPr/>
            </a:pPr>
            <a:r>
              <a:rPr lang="es-ES_tradnl" sz="2000" b="1" dirty="0">
                <a:solidFill>
                  <a:srgbClr val="000066"/>
                </a:solidFill>
                <a:latin typeface="Calibri" pitchFamily="34" charset="0"/>
              </a:rPr>
              <a:t>Exposición: </a:t>
            </a:r>
            <a:r>
              <a:rPr lang="es-ES_tradnl" sz="2000" dirty="0">
                <a:solidFill>
                  <a:srgbClr val="000066"/>
                </a:solidFill>
                <a:latin typeface="Calibri" pitchFamily="34" charset="0"/>
              </a:rPr>
              <a:t>el candidato elige una de dos láminas que se le ofrecen para hacer una breve exposición;</a:t>
            </a:r>
          </a:p>
          <a:p>
            <a:pPr marL="1371600" lvl="2" indent="-457200" algn="just" eaLnBrk="1" hangingPunct="1">
              <a:lnSpc>
                <a:spcPct val="110000"/>
              </a:lnSpc>
              <a:spcBef>
                <a:spcPct val="20000"/>
              </a:spcBef>
              <a:buFont typeface="+mj-lt"/>
              <a:buAutoNum type="arabicPeriod"/>
              <a:defRPr/>
            </a:pPr>
            <a:r>
              <a:rPr lang="es-ES_tradnl" sz="2000" b="1" dirty="0">
                <a:solidFill>
                  <a:srgbClr val="000066"/>
                </a:solidFill>
                <a:latin typeface="Calibri" pitchFamily="34" charset="0"/>
              </a:rPr>
              <a:t>Diálogo</a:t>
            </a:r>
            <a:r>
              <a:rPr lang="es-ES_tradnl" sz="2000" dirty="0">
                <a:solidFill>
                  <a:srgbClr val="000066"/>
                </a:solidFill>
                <a:latin typeface="Calibri" pitchFamily="34" charset="0"/>
              </a:rPr>
              <a:t>: situación simulada que propone el examinador y que está relacionada con el tema de la lámina elegida.</a:t>
            </a:r>
          </a:p>
        </p:txBody>
      </p:sp>
      <p:sp>
        <p:nvSpPr>
          <p:cNvPr id="15364"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9906A0FB-AED8-4210-BBAD-F7B65C3E4FB6}" type="slidenum">
              <a:rPr lang="es-ES_tradnl" altLang="es-AR" sz="1000" i="1">
                <a:solidFill>
                  <a:srgbClr val="000000"/>
                </a:solidFill>
                <a:latin typeface="Verdana" panose="020B0604030504040204" pitchFamily="34" charset="0"/>
              </a:rPr>
              <a:pPr algn="r" eaLnBrk="1" hangingPunct="1">
                <a:spcBef>
                  <a:spcPct val="0"/>
                </a:spcBef>
                <a:buFontTx/>
                <a:buNone/>
              </a:pPr>
              <a:t>13</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2 CuadroTexto"/>
          <p:cNvSpPr txBox="1">
            <a:spLocks noChangeArrowheads="1"/>
          </p:cNvSpPr>
          <p:nvPr/>
        </p:nvSpPr>
        <p:spPr bwMode="auto">
          <a:xfrm>
            <a:off x="319088" y="2754313"/>
            <a:ext cx="4137025" cy="3970337"/>
          </a:xfrm>
          <a:prstGeom prst="rect">
            <a:avLst/>
          </a:prstGeom>
          <a:solidFill>
            <a:schemeClr val="bg1">
              <a:alpha val="59999"/>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eaLnBrk="1" hangingPunct="1">
              <a:spcBef>
                <a:spcPct val="0"/>
              </a:spcBef>
              <a:buFontTx/>
              <a:buNone/>
            </a:pPr>
            <a:r>
              <a:rPr lang="es-AR" altLang="es-AR" sz="1600" b="1">
                <a:solidFill>
                  <a:srgbClr val="000000"/>
                </a:solidFill>
                <a:latin typeface="Verdana" panose="020B0604030504040204" pitchFamily="34" charset="0"/>
              </a:rPr>
              <a:t>¿Aburridos en el trabajo?</a:t>
            </a:r>
          </a:p>
          <a:p>
            <a:pPr algn="just" eaLnBrk="1" hangingPunct="1">
              <a:spcBef>
                <a:spcPct val="0"/>
              </a:spcBef>
              <a:buFontTx/>
              <a:buNone/>
            </a:pPr>
            <a:endParaRPr lang="es-AR" altLang="es-AR" sz="1600">
              <a:solidFill>
                <a:srgbClr val="000000"/>
              </a:solidFill>
              <a:latin typeface="Verdana" panose="020B0604030504040204" pitchFamily="34" charset="0"/>
            </a:endParaRPr>
          </a:p>
          <a:p>
            <a:pPr algn="just" eaLnBrk="1" hangingPunct="1">
              <a:spcBef>
                <a:spcPct val="0"/>
              </a:spcBef>
              <a:buFontTx/>
              <a:buNone/>
            </a:pPr>
            <a:r>
              <a:rPr lang="es-AR" altLang="es-AR" sz="1600">
                <a:solidFill>
                  <a:srgbClr val="000000"/>
                </a:solidFill>
                <a:latin typeface="Verdana" panose="020B0604030504040204" pitchFamily="34" charset="0"/>
              </a:rPr>
              <a:t>Los que sufren del síndrome de aburrimiento laboral desconocen la palabra presión, tienen demasiado poca tarea y la mayoría de las veces no tienen idea de qué hacer durante su jornada laboral, lo que trae como consecuencia la insatisfacción laboral. Uno de los indicadores habituales es la sensación de que los minutos no pasan nunca y las jornadas son interminables por falta de estímulos.</a:t>
            </a:r>
          </a:p>
          <a:p>
            <a:pPr algn="just" eaLnBrk="1" hangingPunct="1">
              <a:spcBef>
                <a:spcPct val="0"/>
              </a:spcBef>
              <a:buFontTx/>
              <a:buNone/>
            </a:pPr>
            <a:endParaRPr lang="es-AR" altLang="es-AR" sz="1400">
              <a:solidFill>
                <a:srgbClr val="000000"/>
              </a:solidFill>
              <a:latin typeface="Verdana" panose="020B0604030504040204" pitchFamily="34" charset="0"/>
            </a:endParaRPr>
          </a:p>
          <a:p>
            <a:pPr algn="just" eaLnBrk="1" hangingPunct="1">
              <a:spcBef>
                <a:spcPct val="0"/>
              </a:spcBef>
              <a:buFontTx/>
              <a:buNone/>
            </a:pPr>
            <a:endParaRPr lang="es-AR" altLang="es-AR" sz="1400">
              <a:solidFill>
                <a:srgbClr val="000000"/>
              </a:solidFill>
              <a:latin typeface="Verdana" panose="020B0604030504040204" pitchFamily="34" charset="0"/>
            </a:endParaRPr>
          </a:p>
          <a:p>
            <a:pPr algn="just" eaLnBrk="1" hangingPunct="1">
              <a:spcBef>
                <a:spcPct val="0"/>
              </a:spcBef>
              <a:buFontTx/>
              <a:buNone/>
            </a:pPr>
            <a:r>
              <a:rPr lang="es-AR" altLang="es-AR" sz="1400">
                <a:solidFill>
                  <a:srgbClr val="000000"/>
                </a:solidFill>
                <a:latin typeface="Verdana" panose="020B0604030504040204" pitchFamily="34" charset="0"/>
              </a:rPr>
              <a:t>Diario Clarín, 22/12/2013 </a:t>
            </a:r>
          </a:p>
        </p:txBody>
      </p:sp>
      <p:sp>
        <p:nvSpPr>
          <p:cNvPr id="21507" name="3 CuadroTexto"/>
          <p:cNvSpPr txBox="1">
            <a:spLocks noChangeArrowheads="1"/>
          </p:cNvSpPr>
          <p:nvPr/>
        </p:nvSpPr>
        <p:spPr bwMode="auto">
          <a:xfrm>
            <a:off x="4559300" y="2754313"/>
            <a:ext cx="5049838" cy="3970337"/>
          </a:xfrm>
          <a:prstGeom prst="rect">
            <a:avLst/>
          </a:prstGeom>
          <a:solidFill>
            <a:schemeClr val="bg1">
              <a:alpha val="60000"/>
            </a:schemeClr>
          </a:solidFill>
          <a:ln w="9525">
            <a:noFill/>
            <a:miter lim="800000"/>
            <a:headEnd/>
            <a:tailEnd/>
          </a:ln>
        </p:spPr>
        <p:txBody>
          <a:bodyPr>
            <a:spAutoFit/>
          </a:bodyPr>
          <a:lstStyle/>
          <a:p>
            <a:pPr algn="just">
              <a:defRPr/>
            </a:pPr>
            <a:r>
              <a:rPr lang="es-AR" sz="1400" b="1" dirty="0">
                <a:latin typeface="+mn-lt"/>
                <a:cs typeface="Times New Roman" pitchFamily="18" charset="0"/>
              </a:rPr>
              <a:t>El mal de trabajar poco</a:t>
            </a:r>
          </a:p>
          <a:p>
            <a:pPr algn="just">
              <a:defRPr/>
            </a:pPr>
            <a:r>
              <a:rPr lang="es-AR" sz="1400" dirty="0">
                <a:latin typeface="+mn-lt"/>
                <a:cs typeface="Times New Roman" pitchFamily="18" charset="0"/>
              </a:rPr>
              <a:t>En una encuesta que realizó en 2005 la consultoría TMI a 100.000 trabajadores -un millar de ellos, españoles-, el 80% dijo no sentirse involucrado en su trabajo, desmotivado para aprender y mejorar, asumir responsabilidades o iniciativas, y, lo que era peor, indiferente a los éxitos o fracasos de su organización.</a:t>
            </a:r>
          </a:p>
          <a:p>
            <a:pPr algn="just">
              <a:defRPr/>
            </a:pPr>
            <a:r>
              <a:rPr lang="es-AR" sz="1400" dirty="0">
                <a:latin typeface="+mn-lt"/>
                <a:cs typeface="Times New Roman" pitchFamily="18" charset="0"/>
              </a:rPr>
              <a:t>El síndrome de aburrimiento surge cuando las tareas se reparten entre un círculo de empleados del que el afectado no forma parte. El desinterés llega ante trabajos de contenido pobre y sencillo para su nivel. La ocupación se convierte en rutinaria, poco estimulante, sin responsabilidad ni significado, dicen los autores de la obra </a:t>
            </a:r>
            <a:r>
              <a:rPr lang="es-AR" sz="1400" i="1" dirty="0">
                <a:latin typeface="+mn-lt"/>
                <a:cs typeface="Times New Roman" pitchFamily="18" charset="0"/>
              </a:rPr>
              <a:t>El nuevo síndrome laboral</a:t>
            </a:r>
            <a:r>
              <a:rPr lang="es-AR" sz="1400" dirty="0">
                <a:latin typeface="+mn-lt"/>
                <a:cs typeface="Times New Roman" pitchFamily="18" charset="0"/>
              </a:rPr>
              <a:t> </a:t>
            </a:r>
            <a:r>
              <a:rPr lang="es-AR" sz="1400" dirty="0" err="1">
                <a:latin typeface="+mn-lt"/>
                <a:cs typeface="Times New Roman" pitchFamily="18" charset="0"/>
              </a:rPr>
              <a:t>Boreout</a:t>
            </a:r>
            <a:r>
              <a:rPr lang="es-AR" sz="1400" dirty="0">
                <a:latin typeface="+mn-lt"/>
                <a:cs typeface="Times New Roman" pitchFamily="18" charset="0"/>
              </a:rPr>
              <a:t> , </a:t>
            </a:r>
            <a:r>
              <a:rPr lang="es-AR" sz="1400" dirty="0" err="1">
                <a:latin typeface="+mn-lt"/>
                <a:cs typeface="Times New Roman" pitchFamily="18" charset="0"/>
              </a:rPr>
              <a:t>Philippe</a:t>
            </a:r>
            <a:r>
              <a:rPr lang="es-AR" sz="1400" dirty="0">
                <a:latin typeface="+mn-lt"/>
                <a:cs typeface="Times New Roman" pitchFamily="18" charset="0"/>
              </a:rPr>
              <a:t> </a:t>
            </a:r>
            <a:r>
              <a:rPr lang="es-AR" sz="1400" dirty="0" err="1">
                <a:latin typeface="+mn-lt"/>
                <a:cs typeface="Times New Roman" pitchFamily="18" charset="0"/>
              </a:rPr>
              <a:t>Rothlin</a:t>
            </a:r>
            <a:r>
              <a:rPr lang="es-AR" sz="1400" dirty="0">
                <a:latin typeface="+mn-lt"/>
                <a:cs typeface="Times New Roman" pitchFamily="18" charset="0"/>
              </a:rPr>
              <a:t> y Peter R. </a:t>
            </a:r>
            <a:r>
              <a:rPr lang="es-AR" sz="1400" dirty="0" err="1">
                <a:latin typeface="+mn-lt"/>
                <a:cs typeface="Times New Roman" pitchFamily="18" charset="0"/>
              </a:rPr>
              <a:t>Werder</a:t>
            </a:r>
            <a:r>
              <a:rPr lang="es-AR" sz="1400" dirty="0">
                <a:latin typeface="+mn-lt"/>
                <a:cs typeface="Times New Roman" pitchFamily="18" charset="0"/>
              </a:rPr>
              <a:t>.</a:t>
            </a:r>
          </a:p>
          <a:p>
            <a:pPr>
              <a:defRPr/>
            </a:pPr>
            <a:endParaRPr lang="es-AR" sz="1400" dirty="0">
              <a:latin typeface="+mn-lt"/>
              <a:cs typeface="Times New Roman" pitchFamily="18" charset="0"/>
            </a:endParaRPr>
          </a:p>
          <a:p>
            <a:pPr>
              <a:defRPr/>
            </a:pPr>
            <a:r>
              <a:rPr lang="es-AR" sz="1400" dirty="0">
                <a:latin typeface="+mn-lt"/>
                <a:cs typeface="Times New Roman" pitchFamily="18" charset="0"/>
              </a:rPr>
              <a:t>Diario </a:t>
            </a:r>
            <a:r>
              <a:rPr lang="es-AR" sz="1400" i="1" dirty="0">
                <a:latin typeface="+mn-lt"/>
                <a:cs typeface="Times New Roman" pitchFamily="18" charset="0"/>
              </a:rPr>
              <a:t>El País</a:t>
            </a:r>
          </a:p>
        </p:txBody>
      </p:sp>
      <p:sp>
        <p:nvSpPr>
          <p:cNvPr id="7" name="6 CuadroTexto"/>
          <p:cNvSpPr txBox="1"/>
          <p:nvPr/>
        </p:nvSpPr>
        <p:spPr>
          <a:xfrm>
            <a:off x="319088" y="1030288"/>
            <a:ext cx="7034212" cy="1277937"/>
          </a:xfrm>
          <a:prstGeom prst="rect">
            <a:avLst/>
          </a:prstGeom>
        </p:spPr>
        <p:style>
          <a:lnRef idx="2">
            <a:schemeClr val="dk1"/>
          </a:lnRef>
          <a:fillRef idx="1">
            <a:schemeClr val="lt1"/>
          </a:fillRef>
          <a:effectRef idx="0">
            <a:schemeClr val="dk1"/>
          </a:effectRef>
          <a:fontRef idx="minor">
            <a:schemeClr val="dk1"/>
          </a:fontRef>
        </p:style>
        <p:txBody>
          <a:bodyPr anchor="ctr"/>
          <a:lstStyle/>
          <a:p>
            <a:pPr algn="just">
              <a:defRPr/>
            </a:pPr>
            <a:r>
              <a:rPr lang="es-AR" dirty="0">
                <a:solidFill>
                  <a:schemeClr val="accent5">
                    <a:lumMod val="25000"/>
                  </a:schemeClr>
                </a:solidFill>
              </a:rPr>
              <a:t>Usted trabaja en una empresa muy prestigiosa y gana un buen sueldo (= salario), pero se aburre mucho y se siente poco motivado a seguir trabajando allí. Le escribe un correo electrónico a un amigo para comentarle su problema y pedirle consejo. Tome información de los textos siguientes.</a:t>
            </a:r>
          </a:p>
        </p:txBody>
      </p:sp>
      <p:pic>
        <p:nvPicPr>
          <p:cNvPr id="16389" name="Picture 3" descr="boreout"/>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7554913" y="0"/>
            <a:ext cx="2351087" cy="2498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390" name="8 Rectángulo"/>
          <p:cNvSpPr>
            <a:spLocks noChangeArrowheads="1"/>
          </p:cNvSpPr>
          <p:nvPr/>
        </p:nvSpPr>
        <p:spPr bwMode="auto">
          <a:xfrm>
            <a:off x="217488" y="4165600"/>
            <a:ext cx="4165600" cy="2192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round/>
                <a:headEnd/>
                <a:tailEnd/>
              </a14:hiddenLine>
            </a:ext>
          </a:extLst>
        </p:spPr>
        <p:txBody>
          <a:bodyPr/>
          <a:lstStyle>
            <a:lvl1pPr marL="342900" indent="-342900"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Clr>
                <a:schemeClr val="accent2"/>
              </a:buClr>
              <a:buSzPct val="80000"/>
              <a:buFont typeface="Wingdings" panose="05000000000000000000" pitchFamily="2" charset="2"/>
              <a:buNone/>
            </a:pPr>
            <a:endParaRPr lang="es-AR" altLang="es-AR" sz="1600">
              <a:solidFill>
                <a:srgbClr val="000000"/>
              </a:solidFill>
              <a:latin typeface="Verdana" panose="020B0604030504040204" pitchFamily="34" charset="0"/>
            </a:endParaRPr>
          </a:p>
        </p:txBody>
      </p:sp>
      <p:cxnSp>
        <p:nvCxnSpPr>
          <p:cNvPr id="16391" name="10 Conector recto"/>
          <p:cNvCxnSpPr>
            <a:cxnSpLocks noChangeShapeType="1"/>
          </p:cNvCxnSpPr>
          <p:nvPr/>
        </p:nvCxnSpPr>
        <p:spPr bwMode="auto">
          <a:xfrm>
            <a:off x="261938" y="4165600"/>
            <a:ext cx="3743325" cy="10160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lgn="ctr">
                <a:solidFill>
                  <a:srgbClr val="000000"/>
                </a:solidFill>
                <a:round/>
                <a:headEnd/>
                <a:tailEnd/>
              </a14:hiddenLine>
            </a:ext>
          </a:extLst>
        </p:spPr>
      </p:cxnSp>
      <p:sp>
        <p:nvSpPr>
          <p:cNvPr id="10" name="Rectangle 4"/>
          <p:cNvSpPr txBox="1">
            <a:spLocks noChangeArrowheads="1"/>
          </p:cNvSpPr>
          <p:nvPr/>
        </p:nvSpPr>
        <p:spPr>
          <a:xfrm>
            <a:off x="-141288" y="298450"/>
            <a:ext cx="8420101" cy="719138"/>
          </a:xfrm>
          <a:prstGeom prst="rect">
            <a:avLst/>
          </a:prstGeom>
        </p:spPr>
        <p:txBody>
          <a:bodyPr anchor="ctr"/>
          <a:lstStyle>
            <a:lvl1pPr algn="l" rtl="0" eaLnBrk="0" fontAlgn="base" hangingPunct="0">
              <a:spcBef>
                <a:spcPct val="0"/>
              </a:spcBef>
              <a:spcAft>
                <a:spcPct val="0"/>
              </a:spcAft>
              <a:defRPr sz="2800" b="1">
                <a:solidFill>
                  <a:srgbClr val="000000"/>
                </a:solidFill>
                <a:latin typeface="+mj-lt"/>
                <a:ea typeface="+mj-ea"/>
                <a:cs typeface="+mj-cs"/>
              </a:defRPr>
            </a:lvl1pPr>
            <a:lvl2pPr algn="l" rtl="0" eaLnBrk="0" fontAlgn="base" hangingPunct="0">
              <a:spcBef>
                <a:spcPct val="0"/>
              </a:spcBef>
              <a:spcAft>
                <a:spcPct val="0"/>
              </a:spcAft>
              <a:defRPr sz="2800" b="1">
                <a:solidFill>
                  <a:srgbClr val="000000"/>
                </a:solidFill>
                <a:latin typeface="Verdana" pitchFamily="34" charset="0"/>
              </a:defRPr>
            </a:lvl2pPr>
            <a:lvl3pPr algn="l" rtl="0" eaLnBrk="0" fontAlgn="base" hangingPunct="0">
              <a:spcBef>
                <a:spcPct val="0"/>
              </a:spcBef>
              <a:spcAft>
                <a:spcPct val="0"/>
              </a:spcAft>
              <a:defRPr sz="2800" b="1">
                <a:solidFill>
                  <a:srgbClr val="000000"/>
                </a:solidFill>
                <a:latin typeface="Verdana" pitchFamily="34" charset="0"/>
              </a:defRPr>
            </a:lvl3pPr>
            <a:lvl4pPr algn="l" rtl="0" eaLnBrk="0" fontAlgn="base" hangingPunct="0">
              <a:spcBef>
                <a:spcPct val="0"/>
              </a:spcBef>
              <a:spcAft>
                <a:spcPct val="0"/>
              </a:spcAft>
              <a:defRPr sz="2800" b="1">
                <a:solidFill>
                  <a:srgbClr val="000000"/>
                </a:solidFill>
                <a:latin typeface="Verdana" pitchFamily="34" charset="0"/>
              </a:defRPr>
            </a:lvl4pPr>
            <a:lvl5pPr algn="l" rtl="0" eaLnBrk="0" fontAlgn="base" hangingPunct="0">
              <a:spcBef>
                <a:spcPct val="0"/>
              </a:spcBef>
              <a:spcAft>
                <a:spcPct val="0"/>
              </a:spcAft>
              <a:defRPr sz="2800" b="1">
                <a:solidFill>
                  <a:srgbClr val="000000"/>
                </a:solidFill>
                <a:latin typeface="Verdana" pitchFamily="34" charset="0"/>
              </a:defRPr>
            </a:lvl5pPr>
            <a:lvl6pPr marL="457200" algn="l" rtl="0" eaLnBrk="1" fontAlgn="base" hangingPunct="1">
              <a:spcBef>
                <a:spcPct val="0"/>
              </a:spcBef>
              <a:spcAft>
                <a:spcPct val="0"/>
              </a:spcAft>
              <a:defRPr sz="2800" b="1">
                <a:solidFill>
                  <a:srgbClr val="000000"/>
                </a:solidFill>
                <a:latin typeface="Verdana" pitchFamily="34" charset="0"/>
              </a:defRPr>
            </a:lvl6pPr>
            <a:lvl7pPr marL="914400" algn="l" rtl="0" eaLnBrk="1" fontAlgn="base" hangingPunct="1">
              <a:spcBef>
                <a:spcPct val="0"/>
              </a:spcBef>
              <a:spcAft>
                <a:spcPct val="0"/>
              </a:spcAft>
              <a:defRPr sz="2800" b="1">
                <a:solidFill>
                  <a:srgbClr val="000000"/>
                </a:solidFill>
                <a:latin typeface="Verdana" pitchFamily="34" charset="0"/>
              </a:defRPr>
            </a:lvl7pPr>
            <a:lvl8pPr marL="1371600" algn="l" rtl="0" eaLnBrk="1" fontAlgn="base" hangingPunct="1">
              <a:spcBef>
                <a:spcPct val="0"/>
              </a:spcBef>
              <a:spcAft>
                <a:spcPct val="0"/>
              </a:spcAft>
              <a:defRPr sz="2800" b="1">
                <a:solidFill>
                  <a:srgbClr val="000000"/>
                </a:solidFill>
                <a:latin typeface="Verdana" pitchFamily="34" charset="0"/>
              </a:defRPr>
            </a:lvl8pPr>
            <a:lvl9pPr marL="1828800" algn="l" rtl="0" eaLnBrk="1" fontAlgn="base" hangingPunct="1">
              <a:spcBef>
                <a:spcPct val="0"/>
              </a:spcBef>
              <a:spcAft>
                <a:spcPct val="0"/>
              </a:spcAft>
              <a:defRPr sz="2800" b="1">
                <a:solidFill>
                  <a:srgbClr val="000000"/>
                </a:solidFill>
                <a:latin typeface="Verdana" pitchFamily="34" charset="0"/>
              </a:defRPr>
            </a:lvl9pPr>
          </a:lstStyle>
          <a:p>
            <a:pPr algn="ctr">
              <a:defRPr/>
            </a:pPr>
            <a:r>
              <a:rPr lang="es-ES_tradnl" altLang="es-AR" sz="4000" dirty="0">
                <a:solidFill>
                  <a:schemeClr val="tx2">
                    <a:lumMod val="75000"/>
                  </a:schemeClr>
                </a:solidFill>
              </a:rPr>
              <a:t>Un ejemplo de actividad escrita</a:t>
            </a:r>
            <a:endParaRPr lang="es-ES_tradnl" sz="4000" dirty="0">
              <a:solidFill>
                <a:schemeClr val="tx2">
                  <a:lumMod val="75000"/>
                </a:schemeClr>
              </a:solidFill>
              <a:cs typeface="Times New Roman" pitchFamily="18" charset="0"/>
            </a:endParaRPr>
          </a:p>
        </p:txBody>
      </p:sp>
      <p:sp>
        <p:nvSpPr>
          <p:cNvPr id="16393" name="Espace réservé du numéro de diapositive 3"/>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7541FD9A-7436-4B12-B071-D01BED25543C}" type="slidenum">
              <a:rPr lang="es-ES_tradnl" altLang="es-AR" sz="1000" i="1">
                <a:solidFill>
                  <a:srgbClr val="000000"/>
                </a:solidFill>
                <a:latin typeface="Verdana" panose="020B0604030504040204" pitchFamily="34" charset="0"/>
              </a:rPr>
              <a:pPr algn="r" eaLnBrk="1" hangingPunct="1">
                <a:spcBef>
                  <a:spcPct val="0"/>
                </a:spcBef>
                <a:buFontTx/>
                <a:buNone/>
              </a:pPr>
              <a:t>14</a:t>
            </a:fld>
            <a:endParaRPr lang="es-ES_tradnl" altLang="es-AR" sz="1000" i="1">
              <a:solidFill>
                <a:srgbClr val="000000"/>
              </a:solidFill>
              <a:latin typeface="Verdana" panose="020B0604030504040204" pitchFamily="34" charset="0"/>
            </a:endParaRP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ChangeArrowheads="1"/>
          </p:cNvSpPr>
          <p:nvPr/>
        </p:nvSpPr>
        <p:spPr bwMode="auto">
          <a:xfrm>
            <a:off x="508000" y="1163638"/>
            <a:ext cx="8931275" cy="5262562"/>
          </a:xfrm>
          <a:prstGeom prst="rect">
            <a:avLst/>
          </a:prstGeom>
          <a:solidFill>
            <a:schemeClr val="bg1">
              <a:alpha val="40000"/>
            </a:schemeClr>
          </a:solidFill>
          <a:ln w="9525">
            <a:noFill/>
            <a:miter lim="800000"/>
            <a:headEnd/>
            <a:tailEnd/>
          </a:ln>
        </p:spPr>
        <p:txBody>
          <a:bodyPr bIns="0">
            <a:normAutofit/>
          </a:bodyPr>
          <a:lstStyle/>
          <a:p>
            <a:pPr algn="just">
              <a:tabLst>
                <a:tab pos="449263" algn="r"/>
                <a:tab pos="2806700" algn="ctr"/>
                <a:tab pos="5611813" algn="r"/>
              </a:tabLst>
              <a:defRPr/>
            </a:pPr>
            <a:r>
              <a:rPr lang="es-ES_tradnl" sz="2400" dirty="0">
                <a:solidFill>
                  <a:schemeClr val="accent5">
                    <a:lumMod val="25000"/>
                  </a:schemeClr>
                </a:solidFill>
                <a:latin typeface="+mn-lt"/>
                <a:cs typeface="Arial" charset="0"/>
              </a:rPr>
              <a:t>Escuche el programa radial del Museo de la Ciudad en el que se habla sobre los antiguos mercados de la ciudad de Buenos Aires.    </a:t>
            </a:r>
          </a:p>
          <a:p>
            <a:pPr algn="just">
              <a:tabLst>
                <a:tab pos="449263" algn="r"/>
                <a:tab pos="2806700" algn="ctr"/>
                <a:tab pos="5611813" algn="r"/>
              </a:tabLst>
              <a:defRPr/>
            </a:pPr>
            <a:endParaRPr lang="es-ES_tradnl" dirty="0">
              <a:solidFill>
                <a:schemeClr val="accent5">
                  <a:lumMod val="25000"/>
                </a:schemeClr>
              </a:solidFill>
              <a:latin typeface="+mn-lt"/>
              <a:cs typeface="Arial" charset="0"/>
            </a:endParaRPr>
          </a:p>
          <a:p>
            <a:pPr algn="just" eaLnBrk="0" hangingPunct="0">
              <a:tabLst>
                <a:tab pos="449263" algn="r"/>
                <a:tab pos="2806700" algn="ctr"/>
                <a:tab pos="5611813" algn="r"/>
              </a:tabLst>
              <a:defRPr/>
            </a:pPr>
            <a:r>
              <a:rPr lang="es-ES_tradnl" sz="1800" i="1" dirty="0">
                <a:solidFill>
                  <a:schemeClr val="accent5">
                    <a:lumMod val="25000"/>
                  </a:schemeClr>
                </a:solidFill>
                <a:latin typeface="+mn-lt"/>
                <a:cs typeface="Arial" charset="0"/>
              </a:rPr>
              <a:t>(Escuchará el programa dos veces. En la página 3, usted tiene una hoja en blanco para </a:t>
            </a:r>
            <a:r>
              <a:rPr lang="es-ES_tradnl" sz="1800" i="1" u="sng" dirty="0">
                <a:solidFill>
                  <a:schemeClr val="accent5">
                    <a:lumMod val="25000"/>
                  </a:schemeClr>
                </a:solidFill>
                <a:latin typeface="+mn-lt"/>
                <a:cs typeface="Arial" charset="0"/>
              </a:rPr>
              <a:t>tomar notas</a:t>
            </a:r>
            <a:r>
              <a:rPr lang="es-ES_tradnl" sz="1800" i="1" dirty="0">
                <a:solidFill>
                  <a:schemeClr val="accent5">
                    <a:lumMod val="25000"/>
                  </a:schemeClr>
                </a:solidFill>
                <a:latin typeface="+mn-lt"/>
                <a:cs typeface="Arial" charset="0"/>
              </a:rPr>
              <a:t>, si las necesita. Sus notas no se tomarán en cuenta para la evaluación).</a:t>
            </a:r>
          </a:p>
          <a:p>
            <a:pPr algn="just" eaLnBrk="0" hangingPunct="0">
              <a:tabLst>
                <a:tab pos="449263" algn="r"/>
                <a:tab pos="2806700" algn="ctr"/>
                <a:tab pos="5611813" algn="r"/>
              </a:tabLst>
              <a:defRPr/>
            </a:pPr>
            <a:endParaRPr lang="es-ES_tradnl" sz="2000" dirty="0">
              <a:solidFill>
                <a:schemeClr val="accent5">
                  <a:lumMod val="25000"/>
                </a:schemeClr>
              </a:solidFill>
              <a:latin typeface="+mn-lt"/>
              <a:cs typeface="Times New Roman" pitchFamily="18" charset="0"/>
            </a:endParaRPr>
          </a:p>
          <a:p>
            <a:pPr algn="just" eaLnBrk="0" hangingPunct="0">
              <a:tabLst>
                <a:tab pos="449263" algn="r"/>
                <a:tab pos="2806700" algn="ctr"/>
                <a:tab pos="5611813" algn="r"/>
              </a:tabLst>
              <a:defRPr/>
            </a:pPr>
            <a:endParaRPr lang="es-ES_tradnl" sz="2400" dirty="0">
              <a:solidFill>
                <a:schemeClr val="tx1"/>
              </a:solidFill>
              <a:latin typeface="Times New Roman" pitchFamily="18" charset="0"/>
              <a:cs typeface="Times New Roman" pitchFamily="18" charset="0"/>
            </a:endParaRPr>
          </a:p>
        </p:txBody>
      </p:sp>
      <p:pic>
        <p:nvPicPr>
          <p:cNvPr id="17411" name="Picture 3"/>
          <p:cNvPicPr>
            <a:picLocks noChangeAspect="1" noChangeArrowheads="1"/>
          </p:cNvPicPr>
          <p:nvPr/>
        </p:nvPicPr>
        <p:blipFill>
          <a:blip r:embed="rId3" cstate="print">
            <a:grayscl/>
            <a:extLst>
              <a:ext uri="{28A0092B-C50C-407E-A947-70E740481C1C}">
                <a14:useLocalDpi xmlns="" xmlns:a14="http://schemas.microsoft.com/office/drawing/2010/main" val="0"/>
              </a:ext>
            </a:extLst>
          </a:blip>
          <a:srcRect/>
          <a:stretch>
            <a:fillRect/>
          </a:stretch>
        </p:blipFill>
        <p:spPr bwMode="auto">
          <a:xfrm>
            <a:off x="4551363" y="3119438"/>
            <a:ext cx="4465637" cy="3079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484" name="Rectangle 4"/>
          <p:cNvSpPr>
            <a:spLocks noGrp="1" noChangeArrowheads="1"/>
          </p:cNvSpPr>
          <p:nvPr>
            <p:ph type="title" idx="4294967295"/>
          </p:nvPr>
        </p:nvSpPr>
        <p:spPr>
          <a:xfrm>
            <a:off x="-760413" y="298450"/>
            <a:ext cx="8420101" cy="719138"/>
          </a:xfrm>
        </p:spPr>
        <p:txBody>
          <a:bodyPr/>
          <a:lstStyle/>
          <a:p>
            <a:pPr algn="r">
              <a:defRPr/>
            </a:pPr>
            <a:r>
              <a:rPr lang="es-ES_tradnl" altLang="es-AR" sz="4000" dirty="0">
                <a:solidFill>
                  <a:srgbClr val="000066"/>
                </a:solidFill>
                <a:latin typeface="+mn-lt"/>
              </a:rPr>
              <a:t>Un ejemplo de actividad escrita</a:t>
            </a:r>
            <a:endParaRPr lang="es-ES_tradnl" sz="4000" dirty="0">
              <a:solidFill>
                <a:srgbClr val="000066"/>
              </a:solidFill>
              <a:latin typeface="+mn-lt"/>
              <a:cs typeface="Times New Roman" pitchFamily="18" charset="0"/>
            </a:endParaRPr>
          </a:p>
        </p:txBody>
      </p:sp>
      <p:sp>
        <p:nvSpPr>
          <p:cNvPr id="5" name="Rectangle 2"/>
          <p:cNvSpPr>
            <a:spLocks noChangeArrowheads="1"/>
          </p:cNvSpPr>
          <p:nvPr/>
        </p:nvSpPr>
        <p:spPr bwMode="auto">
          <a:xfrm>
            <a:off x="508000" y="4289425"/>
            <a:ext cx="4572000" cy="2170113"/>
          </a:xfrm>
          <a:prstGeom prst="rect">
            <a:avLst/>
          </a:prstGeom>
          <a:noFill/>
          <a:ln w="9525">
            <a:noFill/>
            <a:miter lim="800000"/>
            <a:headEnd/>
            <a:tailEnd/>
          </a:ln>
        </p:spPr>
        <p:txBody>
          <a:bodyPr bIns="0" anchor="ctr">
            <a:spAutoFit/>
          </a:bodyPr>
          <a:lstStyle/>
          <a:p>
            <a:pPr algn="just" eaLnBrk="0" hangingPunct="0">
              <a:tabLst>
                <a:tab pos="449263" algn="r"/>
                <a:tab pos="2806700" algn="ctr"/>
                <a:tab pos="5611813" algn="r"/>
              </a:tabLst>
              <a:defRPr/>
            </a:pPr>
            <a:endParaRPr lang="es-ES_tradnl" sz="1800" dirty="0">
              <a:solidFill>
                <a:schemeClr val="accent5">
                  <a:lumMod val="25000"/>
                </a:schemeClr>
              </a:solidFill>
              <a:latin typeface="+mn-lt"/>
              <a:cs typeface="Times New Roman" pitchFamily="18" charset="0"/>
            </a:endParaRPr>
          </a:p>
          <a:p>
            <a:pPr algn="just" eaLnBrk="0" hangingPunct="0">
              <a:tabLst>
                <a:tab pos="449263" algn="r"/>
                <a:tab pos="2806700" algn="ctr"/>
                <a:tab pos="5611813" algn="r"/>
              </a:tabLst>
              <a:defRPr/>
            </a:pPr>
            <a:r>
              <a:rPr lang="es-ES_tradnl" sz="2000" dirty="0">
                <a:solidFill>
                  <a:schemeClr val="accent5">
                    <a:lumMod val="25000"/>
                  </a:schemeClr>
                </a:solidFill>
                <a:latin typeface="+mn-lt"/>
                <a:cs typeface="Times New Roman" pitchFamily="18" charset="0"/>
              </a:rPr>
              <a:t>Para una Guía de Turismo, </a:t>
            </a:r>
          </a:p>
          <a:p>
            <a:pPr algn="just" eaLnBrk="0" hangingPunct="0">
              <a:tabLst>
                <a:tab pos="449263" algn="r"/>
                <a:tab pos="2806700" algn="ctr"/>
                <a:tab pos="5611813" algn="r"/>
              </a:tabLst>
              <a:defRPr/>
            </a:pPr>
            <a:r>
              <a:rPr lang="es-ES_tradnl" sz="2000" dirty="0">
                <a:solidFill>
                  <a:schemeClr val="accent5">
                    <a:lumMod val="25000"/>
                  </a:schemeClr>
                </a:solidFill>
                <a:latin typeface="+mn-lt"/>
                <a:cs typeface="Times New Roman" pitchFamily="18" charset="0"/>
              </a:rPr>
              <a:t>redacte </a:t>
            </a:r>
            <a:r>
              <a:rPr lang="es-ES_tradnl" sz="2000" u="sng" dirty="0">
                <a:solidFill>
                  <a:schemeClr val="accent5">
                    <a:lumMod val="25000"/>
                  </a:schemeClr>
                </a:solidFill>
                <a:latin typeface="+mn-lt"/>
                <a:cs typeface="Times New Roman" pitchFamily="18" charset="0"/>
              </a:rPr>
              <a:t>un artículo breve</a:t>
            </a:r>
            <a:r>
              <a:rPr lang="es-ES_tradnl" sz="2000" dirty="0">
                <a:solidFill>
                  <a:schemeClr val="accent5">
                    <a:lumMod val="25000"/>
                  </a:schemeClr>
                </a:solidFill>
                <a:latin typeface="+mn-lt"/>
                <a:cs typeface="Times New Roman" pitchFamily="18" charset="0"/>
              </a:rPr>
              <a:t> sobre </a:t>
            </a:r>
          </a:p>
          <a:p>
            <a:pPr algn="just" eaLnBrk="0" hangingPunct="0">
              <a:tabLst>
                <a:tab pos="449263" algn="r"/>
                <a:tab pos="2806700" algn="ctr"/>
                <a:tab pos="5611813" algn="r"/>
              </a:tabLst>
              <a:defRPr/>
            </a:pPr>
            <a:r>
              <a:rPr lang="es-ES_tradnl" sz="2000" dirty="0">
                <a:solidFill>
                  <a:schemeClr val="accent5">
                    <a:lumMod val="25000"/>
                  </a:schemeClr>
                </a:solidFill>
                <a:latin typeface="+mn-lt"/>
                <a:cs typeface="Times New Roman" pitchFamily="18" charset="0"/>
              </a:rPr>
              <a:t>la historia de los viejos mercados </a:t>
            </a:r>
          </a:p>
          <a:p>
            <a:pPr algn="just" eaLnBrk="0" hangingPunct="0">
              <a:tabLst>
                <a:tab pos="449263" algn="r"/>
                <a:tab pos="2806700" algn="ctr"/>
                <a:tab pos="5611813" algn="r"/>
              </a:tabLst>
              <a:defRPr/>
            </a:pPr>
            <a:r>
              <a:rPr lang="es-ES_tradnl" sz="2000" dirty="0">
                <a:solidFill>
                  <a:schemeClr val="accent5">
                    <a:lumMod val="25000"/>
                  </a:schemeClr>
                </a:solidFill>
                <a:latin typeface="+mn-lt"/>
                <a:cs typeface="Times New Roman" pitchFamily="18" charset="0"/>
              </a:rPr>
              <a:t>de Buenos Aires, que </a:t>
            </a:r>
          </a:p>
          <a:p>
            <a:pPr algn="just" eaLnBrk="0" hangingPunct="0">
              <a:tabLst>
                <a:tab pos="449263" algn="r"/>
                <a:tab pos="2806700" algn="ctr"/>
                <a:tab pos="5611813" algn="r"/>
              </a:tabLst>
              <a:defRPr/>
            </a:pPr>
            <a:r>
              <a:rPr lang="es-ES_tradnl" sz="2000" dirty="0">
                <a:solidFill>
                  <a:schemeClr val="accent5">
                    <a:lumMod val="25000"/>
                  </a:schemeClr>
                </a:solidFill>
                <a:latin typeface="+mn-lt"/>
                <a:cs typeface="Times New Roman" pitchFamily="18" charset="0"/>
              </a:rPr>
              <a:t>acompañará esta foto. </a:t>
            </a:r>
          </a:p>
          <a:p>
            <a:pPr algn="just" eaLnBrk="0" hangingPunct="0">
              <a:tabLst>
                <a:tab pos="449263" algn="r"/>
                <a:tab pos="2806700" algn="ctr"/>
                <a:tab pos="5611813" algn="r"/>
              </a:tabLst>
              <a:defRPr/>
            </a:pPr>
            <a:endParaRPr lang="es-ES_tradnl" sz="2000" dirty="0">
              <a:solidFill>
                <a:schemeClr val="tx1"/>
              </a:solidFill>
              <a:latin typeface="Times New Roman" pitchFamily="18" charset="0"/>
              <a:cs typeface="Times New Roman" pitchFamily="18" charset="0"/>
            </a:endParaRPr>
          </a:p>
        </p:txBody>
      </p:sp>
      <p:sp>
        <p:nvSpPr>
          <p:cNvPr id="17414" name="Espace réservé du numéro de diapositive 3"/>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008FE209-8ABE-476E-9420-0653551EDDF6}" type="slidenum">
              <a:rPr lang="es-ES_tradnl" altLang="es-AR" sz="1000" i="1">
                <a:solidFill>
                  <a:srgbClr val="000000"/>
                </a:solidFill>
                <a:latin typeface="Verdana" panose="020B0604030504040204" pitchFamily="34" charset="0"/>
              </a:rPr>
              <a:pPr algn="r" eaLnBrk="1" hangingPunct="1">
                <a:spcBef>
                  <a:spcPct val="0"/>
                </a:spcBef>
                <a:buFontTx/>
                <a:buNone/>
              </a:pPr>
              <a:t>15</a:t>
            </a:fld>
            <a:endParaRPr lang="es-ES_tradnl" altLang="es-AR" sz="1000" i="1">
              <a:solidFill>
                <a:srgbClr val="000000"/>
              </a:solidFill>
              <a:latin typeface="Verdana" panose="020B0604030504040204" pitchFamily="34" charset="0"/>
            </a:endParaRP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Espace réservé du numéro de diapositive 3"/>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4CA9CDE4-8D45-4C6E-AD75-132708722249}" type="slidenum">
              <a:rPr lang="es-ES_tradnl" altLang="es-AR" sz="1000" i="1">
                <a:solidFill>
                  <a:srgbClr val="000000"/>
                </a:solidFill>
                <a:latin typeface="Verdana" panose="020B0604030504040204" pitchFamily="34" charset="0"/>
              </a:rPr>
              <a:pPr algn="r" eaLnBrk="1" hangingPunct="1">
                <a:spcBef>
                  <a:spcPct val="0"/>
                </a:spcBef>
                <a:buFontTx/>
                <a:buNone/>
              </a:pPr>
              <a:t>16</a:t>
            </a:fld>
            <a:endParaRPr lang="es-ES_tradnl" altLang="es-AR" sz="1000" i="1">
              <a:solidFill>
                <a:srgbClr val="000000"/>
              </a:solidFill>
              <a:latin typeface="Verdana" panose="020B0604030504040204" pitchFamily="34" charset="0"/>
            </a:endParaRPr>
          </a:p>
        </p:txBody>
      </p:sp>
      <p:sp>
        <p:nvSpPr>
          <p:cNvPr id="22531" name="Rectangle 2"/>
          <p:cNvSpPr>
            <a:spLocks noGrp="1" noChangeArrowheads="1"/>
          </p:cNvSpPr>
          <p:nvPr>
            <p:ph type="title" idx="4294967295"/>
          </p:nvPr>
        </p:nvSpPr>
        <p:spPr>
          <a:xfrm>
            <a:off x="166688" y="223838"/>
            <a:ext cx="7612062" cy="1143000"/>
          </a:xfrm>
        </p:spPr>
        <p:txBody>
          <a:bodyPr/>
          <a:lstStyle/>
          <a:p>
            <a:pPr eaLnBrk="1" hangingPunct="1">
              <a:defRPr/>
            </a:pPr>
            <a:r>
              <a:rPr lang="es-ES_tradnl" altLang="es-ES_tradnl" sz="4000" dirty="0">
                <a:solidFill>
                  <a:srgbClr val="000066"/>
                </a:solidFill>
                <a:latin typeface="+mn-lt"/>
              </a:rPr>
              <a:t>Qué se espera del candidato</a:t>
            </a:r>
            <a:br>
              <a:rPr lang="es-ES_tradnl" altLang="es-ES_tradnl" sz="4000" dirty="0">
                <a:solidFill>
                  <a:srgbClr val="000066"/>
                </a:solidFill>
                <a:latin typeface="+mn-lt"/>
              </a:rPr>
            </a:br>
            <a:r>
              <a:rPr lang="es-ES_tradnl" altLang="es-ES_tradnl" sz="4000" dirty="0">
                <a:solidFill>
                  <a:srgbClr val="000066"/>
                </a:solidFill>
                <a:latin typeface="+mn-lt"/>
              </a:rPr>
              <a:t>en la sección escrita</a:t>
            </a:r>
          </a:p>
        </p:txBody>
      </p:sp>
      <p:sp>
        <p:nvSpPr>
          <p:cNvPr id="22532" name="Rectangle 3"/>
          <p:cNvSpPr>
            <a:spLocks noGrp="1" noChangeArrowheads="1"/>
          </p:cNvSpPr>
          <p:nvPr>
            <p:ph type="body" idx="4294967295"/>
          </p:nvPr>
        </p:nvSpPr>
        <p:spPr>
          <a:xfrm>
            <a:off x="1044575" y="1747838"/>
            <a:ext cx="7799388" cy="1006475"/>
          </a:xfrm>
          <a:solidFill>
            <a:schemeClr val="tx2">
              <a:lumMod val="20000"/>
              <a:lumOff val="80000"/>
            </a:schemeClr>
          </a:solidFill>
        </p:spPr>
        <p:txBody>
          <a:bodyPr anchor="ctr"/>
          <a:lstStyle/>
          <a:p>
            <a:pPr marL="0" indent="0" algn="ctr" eaLnBrk="1" hangingPunct="1">
              <a:buFont typeface="Wingdings" pitchFamily="2" charset="2"/>
              <a:buNone/>
              <a:defRPr/>
            </a:pPr>
            <a:r>
              <a:rPr lang="es-ES_tradnl" altLang="es-AR" sz="2800" b="1" dirty="0">
                <a:solidFill>
                  <a:srgbClr val="000066"/>
                </a:solidFill>
              </a:rPr>
              <a:t>Que los textos en español sean adecuados a las situaciones comunicativas propuestas</a:t>
            </a:r>
          </a:p>
        </p:txBody>
      </p:sp>
      <p:sp>
        <p:nvSpPr>
          <p:cNvPr id="5" name="Rectangle 3"/>
          <p:cNvSpPr txBox="1">
            <a:spLocks noChangeArrowheads="1"/>
          </p:cNvSpPr>
          <p:nvPr/>
        </p:nvSpPr>
        <p:spPr bwMode="auto">
          <a:xfrm>
            <a:off x="2214563" y="2954338"/>
            <a:ext cx="7691437" cy="3771900"/>
          </a:xfrm>
          <a:prstGeom prst="rect">
            <a:avLst/>
          </a:prstGeom>
          <a:noFill/>
          <a:ln w="9525">
            <a:noFill/>
            <a:miter lim="800000"/>
            <a:headEnd/>
            <a:tailEnd/>
          </a:ln>
        </p:spPr>
        <p:txBody>
          <a:bodyPr/>
          <a:lstStyle>
            <a:lvl1pPr marL="457200" indent="-457200" eaLnBrk="0" hangingPunct="0">
              <a:defRPr sz="1600">
                <a:solidFill>
                  <a:srgbClr val="000000"/>
                </a:solidFill>
                <a:latin typeface="Verdana" pitchFamily="34" charset="0"/>
                <a:cs typeface="Arial" charset="0"/>
              </a:defRPr>
            </a:lvl1pPr>
            <a:lvl2pPr marL="711200" indent="-25400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eaLnBrk="1" hangingPunct="1">
              <a:spcBef>
                <a:spcPts val="600"/>
              </a:spcBef>
              <a:buClr>
                <a:srgbClr val="C0504D"/>
              </a:buClr>
              <a:buSzPct val="80000"/>
              <a:buFont typeface="Wingdings" pitchFamily="2" charset="2"/>
              <a:buNone/>
              <a:defRPr/>
            </a:pPr>
            <a:endParaRPr lang="es-ES_tradnl" sz="2000" dirty="0">
              <a:solidFill>
                <a:srgbClr val="000066"/>
              </a:solidFill>
              <a:latin typeface="+mn-lt"/>
              <a:cs typeface="+mn-cs"/>
            </a:endParaRPr>
          </a:p>
          <a:p>
            <a:pPr eaLnBrk="1" hangingPunct="1">
              <a:spcBef>
                <a:spcPts val="600"/>
              </a:spcBef>
              <a:buClr>
                <a:srgbClr val="C0504D"/>
              </a:buClr>
              <a:buSzPct val="80000"/>
              <a:buFont typeface="Wingdings" pitchFamily="2" charset="2"/>
              <a:buNone/>
              <a:defRPr/>
            </a:pPr>
            <a:endParaRPr lang="es-ES_tradnl" sz="2000" dirty="0">
              <a:solidFill>
                <a:srgbClr val="000066"/>
              </a:solidFill>
              <a:latin typeface="+mn-lt"/>
              <a:cs typeface="+mn-cs"/>
            </a:endParaRPr>
          </a:p>
          <a:p>
            <a:pPr eaLnBrk="1" hangingPunct="1">
              <a:spcBef>
                <a:spcPts val="600"/>
              </a:spcBef>
              <a:buClr>
                <a:srgbClr val="C0504D"/>
              </a:buClr>
              <a:buSzPct val="80000"/>
              <a:buFont typeface="Wingdings" pitchFamily="2" charset="2"/>
              <a:buNone/>
              <a:defRPr/>
            </a:pPr>
            <a:endParaRPr lang="es-ES_tradnl" sz="2000" dirty="0">
              <a:solidFill>
                <a:srgbClr val="000066"/>
              </a:solidFill>
              <a:latin typeface="+mn-lt"/>
            </a:endParaRPr>
          </a:p>
          <a:p>
            <a:pPr lvl="1" eaLnBrk="1" hangingPunct="1">
              <a:spcBef>
                <a:spcPts val="600"/>
              </a:spcBef>
              <a:buClr>
                <a:srgbClr val="000066"/>
              </a:buClr>
              <a:buSzPct val="80000"/>
              <a:buFont typeface="Wingdings" pitchFamily="2" charset="2"/>
              <a:buChar char="§"/>
              <a:defRPr/>
            </a:pPr>
            <a:r>
              <a:rPr lang="es-ES_tradnl" sz="2000" dirty="0">
                <a:solidFill>
                  <a:srgbClr val="000066"/>
                </a:solidFill>
                <a:latin typeface="+mn-lt"/>
              </a:rPr>
              <a:t>Se espera que integre y reelabore los datos escuchados para que su propio artículo sea comprensible</a:t>
            </a:r>
          </a:p>
          <a:p>
            <a:pPr lvl="1" eaLnBrk="1" hangingPunct="1">
              <a:spcBef>
                <a:spcPts val="600"/>
              </a:spcBef>
              <a:buClr>
                <a:srgbClr val="003399"/>
              </a:buClr>
              <a:buSzPct val="80000"/>
              <a:buFont typeface="Wingdings" pitchFamily="2" charset="2"/>
              <a:buChar char="§"/>
              <a:defRPr/>
            </a:pPr>
            <a:endParaRPr lang="es-ES_tradnl" sz="2000" dirty="0">
              <a:solidFill>
                <a:srgbClr val="000066"/>
              </a:solidFill>
              <a:latin typeface="+mn-lt"/>
            </a:endParaRPr>
          </a:p>
          <a:p>
            <a:pPr lvl="1" eaLnBrk="1" hangingPunct="1">
              <a:spcBef>
                <a:spcPts val="600"/>
              </a:spcBef>
              <a:buClr>
                <a:srgbClr val="000066"/>
              </a:buClr>
              <a:buSzPct val="80000"/>
              <a:buFont typeface="Wingdings" pitchFamily="2" charset="2"/>
              <a:buChar char="§"/>
              <a:defRPr/>
            </a:pPr>
            <a:r>
              <a:rPr lang="es-ES_tradnl" sz="2000" dirty="0">
                <a:solidFill>
                  <a:srgbClr val="000066"/>
                </a:solidFill>
                <a:latin typeface="+mn-lt"/>
              </a:rPr>
              <a:t>Se dirija a los posibles lectores con las formas lingüísticas más adecuadas para el género solicitado</a:t>
            </a:r>
          </a:p>
          <a:p>
            <a:pPr lvl="1" eaLnBrk="1" hangingPunct="1">
              <a:spcBef>
                <a:spcPts val="600"/>
              </a:spcBef>
              <a:buClr>
                <a:srgbClr val="003399"/>
              </a:buClr>
              <a:buSzPct val="80000"/>
              <a:buFont typeface="Wingdings" pitchFamily="2" charset="2"/>
              <a:buChar char="§"/>
              <a:defRPr/>
            </a:pPr>
            <a:endParaRPr lang="es-ES_tradnl" sz="2000" dirty="0">
              <a:solidFill>
                <a:srgbClr val="000066"/>
              </a:solidFill>
              <a:latin typeface="+mn-lt"/>
            </a:endParaRPr>
          </a:p>
          <a:p>
            <a:pPr lvl="1" eaLnBrk="1" hangingPunct="1">
              <a:spcBef>
                <a:spcPts val="600"/>
              </a:spcBef>
              <a:buClr>
                <a:srgbClr val="003399"/>
              </a:buClr>
              <a:buSzPct val="80000"/>
              <a:defRPr/>
            </a:pPr>
            <a:endParaRPr lang="es-ES_tradnl" sz="1400" b="1" dirty="0">
              <a:solidFill>
                <a:srgbClr val="000066"/>
              </a:solidFill>
              <a:latin typeface="+mn-lt"/>
            </a:endParaRPr>
          </a:p>
        </p:txBody>
      </p:sp>
      <p:sp>
        <p:nvSpPr>
          <p:cNvPr id="6" name="Rectangle 3"/>
          <p:cNvSpPr txBox="1">
            <a:spLocks noChangeArrowheads="1"/>
          </p:cNvSpPr>
          <p:nvPr/>
        </p:nvSpPr>
        <p:spPr bwMode="auto">
          <a:xfrm>
            <a:off x="2635250" y="3065463"/>
            <a:ext cx="6851650" cy="2967037"/>
          </a:xfrm>
          <a:prstGeom prst="rect">
            <a:avLst/>
          </a:prstGeom>
          <a:noFill/>
          <a:ln w="9525">
            <a:noFill/>
            <a:miter lim="800000"/>
            <a:headEnd/>
            <a:tailEnd/>
          </a:ln>
          <a:effectLst/>
        </p:spPr>
        <p:txBody>
          <a:bodyPr/>
          <a:lstStyle>
            <a:lvl1pPr marL="457200" indent="-457200" eaLnBrk="0" hangingPunct="0">
              <a:defRPr sz="1600">
                <a:solidFill>
                  <a:srgbClr val="000000"/>
                </a:solidFill>
                <a:latin typeface="Verdana" pitchFamily="34" charset="0"/>
                <a:cs typeface="Arial" charset="0"/>
              </a:defRPr>
            </a:lvl1pPr>
            <a:lvl2pPr marL="711200" indent="-25400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marL="0" indent="0" eaLnBrk="1" hangingPunct="1">
              <a:spcBef>
                <a:spcPts val="600"/>
              </a:spcBef>
              <a:buClr>
                <a:srgbClr val="C0504D"/>
              </a:buClr>
              <a:buSzPct val="80000"/>
              <a:buFont typeface="Wingdings" pitchFamily="2" charset="2"/>
              <a:buNone/>
              <a:defRPr/>
            </a:pPr>
            <a:r>
              <a:rPr lang="es-ES_tradnl" sz="2400" b="1" dirty="0">
                <a:solidFill>
                  <a:srgbClr val="000066"/>
                </a:solidFill>
                <a:latin typeface="+mn-lt"/>
                <a:cs typeface="+mn-cs"/>
              </a:rPr>
              <a:t>Por ejemplo, si se le propone que escriba un artículo basado en un programa de radio :</a:t>
            </a:r>
          </a:p>
          <a:p>
            <a:pPr eaLnBrk="1" hangingPunct="1">
              <a:spcBef>
                <a:spcPts val="600"/>
              </a:spcBef>
              <a:buClr>
                <a:srgbClr val="C0504D"/>
              </a:buClr>
              <a:buSzPct val="80000"/>
              <a:buFont typeface="Wingdings" pitchFamily="2" charset="2"/>
              <a:buNone/>
              <a:defRPr/>
            </a:pPr>
            <a:endParaRPr lang="es-ES_tradnl" sz="2000" b="1" dirty="0">
              <a:solidFill>
                <a:srgbClr val="000066"/>
              </a:solidFill>
              <a:latin typeface="+mn-lt"/>
            </a:endParaRPr>
          </a:p>
        </p:txBody>
      </p:sp>
      <p:sp>
        <p:nvSpPr>
          <p:cNvPr id="2" name="1 Flecha derecha"/>
          <p:cNvSpPr/>
          <p:nvPr/>
        </p:nvSpPr>
        <p:spPr>
          <a:xfrm>
            <a:off x="193675" y="1766888"/>
            <a:ext cx="758825" cy="966787"/>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AR"/>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2 Título"/>
          <p:cNvSpPr>
            <a:spLocks noGrp="1"/>
          </p:cNvSpPr>
          <p:nvPr>
            <p:ph type="title" idx="4294967295"/>
          </p:nvPr>
        </p:nvSpPr>
        <p:spPr>
          <a:xfrm>
            <a:off x="488950" y="68263"/>
            <a:ext cx="7778750" cy="1143000"/>
          </a:xfrm>
        </p:spPr>
        <p:txBody>
          <a:bodyPr/>
          <a:lstStyle/>
          <a:p>
            <a:pPr eaLnBrk="1" hangingPunct="1">
              <a:defRPr/>
            </a:pPr>
            <a:r>
              <a:rPr lang="es-ES_tradnl" altLang="es-AR" sz="4000" dirty="0">
                <a:solidFill>
                  <a:srgbClr val="000066"/>
                </a:solidFill>
                <a:latin typeface="+mn-lt"/>
              </a:rPr>
              <a:t>Un ejemplo de actividad oral </a:t>
            </a:r>
          </a:p>
        </p:txBody>
      </p:sp>
      <p:sp>
        <p:nvSpPr>
          <p:cNvPr id="19459" name="Espace réservé du numéro de diapositive 3"/>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B0009991-5224-4574-922B-2FB2809B8ECC}" type="slidenum">
              <a:rPr lang="es-ES_tradnl" altLang="es-AR" sz="1000" i="1">
                <a:solidFill>
                  <a:srgbClr val="000000"/>
                </a:solidFill>
                <a:latin typeface="Verdana" panose="020B0604030504040204" pitchFamily="34" charset="0"/>
              </a:rPr>
              <a:pPr algn="r" eaLnBrk="1" hangingPunct="1">
                <a:spcBef>
                  <a:spcPct val="0"/>
                </a:spcBef>
                <a:buFontTx/>
                <a:buNone/>
              </a:pPr>
              <a:t>17</a:t>
            </a:fld>
            <a:endParaRPr lang="es-ES_tradnl" altLang="es-AR" sz="1000" i="1">
              <a:solidFill>
                <a:srgbClr val="000000"/>
              </a:solidFill>
              <a:latin typeface="Verdana" panose="020B0604030504040204" pitchFamily="34" charset="0"/>
            </a:endParaRPr>
          </a:p>
        </p:txBody>
      </p:sp>
      <p:pic>
        <p:nvPicPr>
          <p:cNvPr id="19460"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27025" y="1254125"/>
            <a:ext cx="3562350" cy="5464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7 CuadroTexto"/>
          <p:cNvSpPr txBox="1"/>
          <p:nvPr/>
        </p:nvSpPr>
        <p:spPr>
          <a:xfrm>
            <a:off x="4376738" y="4318000"/>
            <a:ext cx="4953000" cy="2082800"/>
          </a:xfrm>
          <a:prstGeom prst="rect">
            <a:avLst/>
          </a:prstGeom>
          <a:solidFill>
            <a:schemeClr val="lt1">
              <a:alpha val="40000"/>
            </a:schemeClr>
          </a:solidFill>
          <a:ln>
            <a:noFill/>
          </a:ln>
        </p:spPr>
        <p:style>
          <a:lnRef idx="2">
            <a:schemeClr val="accent6"/>
          </a:lnRef>
          <a:fillRef idx="1">
            <a:schemeClr val="lt1"/>
          </a:fillRef>
          <a:effectRef idx="0">
            <a:schemeClr val="accent6"/>
          </a:effectRef>
          <a:fontRef idx="minor">
            <a:schemeClr val="dk1"/>
          </a:fontRef>
        </p:style>
        <p:txBody>
          <a:bodyPr>
            <a:spAutoFit/>
          </a:bodyPr>
          <a:lstStyle/>
          <a:p>
            <a:pPr algn="just">
              <a:defRPr/>
            </a:pPr>
            <a:r>
              <a:rPr lang="es-ES_tradnl" b="1" dirty="0">
                <a:solidFill>
                  <a:schemeClr val="accent5">
                    <a:lumMod val="25000"/>
                  </a:schemeClr>
                </a:solidFill>
              </a:rPr>
              <a:t>SITUACIÓN</a:t>
            </a:r>
          </a:p>
          <a:p>
            <a:pPr algn="just">
              <a:defRPr/>
            </a:pPr>
            <a:endParaRPr lang="es-ES_tradnl" dirty="0">
              <a:solidFill>
                <a:schemeClr val="accent5">
                  <a:lumMod val="25000"/>
                </a:schemeClr>
              </a:solidFill>
            </a:endParaRPr>
          </a:p>
          <a:p>
            <a:pPr algn="just">
              <a:defRPr/>
            </a:pPr>
            <a:r>
              <a:rPr lang="es-ES_tradnl" dirty="0">
                <a:solidFill>
                  <a:schemeClr val="accent5">
                    <a:lumMod val="25000"/>
                  </a:schemeClr>
                </a:solidFill>
              </a:rPr>
              <a:t>USTED va con un amigo a un shopping y se da cuenta de que él quiere comprar muchas cosas. Trate de convencerlo de que no gaste tanto dinero.</a:t>
            </a:r>
          </a:p>
          <a:p>
            <a:pPr algn="just">
              <a:defRPr/>
            </a:pPr>
            <a:endParaRPr lang="es-ES_tradnl" dirty="0">
              <a:solidFill>
                <a:schemeClr val="accent5">
                  <a:lumMod val="25000"/>
                </a:schemeClr>
              </a:solidFill>
            </a:endParaRPr>
          </a:p>
          <a:p>
            <a:pPr algn="just">
              <a:defRPr/>
            </a:pPr>
            <a:r>
              <a:rPr lang="es-ES_tradnl" dirty="0">
                <a:solidFill>
                  <a:schemeClr val="accent5">
                    <a:lumMod val="25000"/>
                  </a:schemeClr>
                </a:solidFill>
              </a:rPr>
              <a:t>EL EXAMINADOR es su amigo. Le gusta todo lo que ve y quiere comprarlo. </a:t>
            </a:r>
          </a:p>
        </p:txBody>
      </p:sp>
      <p:sp>
        <p:nvSpPr>
          <p:cNvPr id="6" name="6 Rectángulo"/>
          <p:cNvSpPr>
            <a:spLocks noChangeArrowheads="1"/>
          </p:cNvSpPr>
          <p:nvPr/>
        </p:nvSpPr>
        <p:spPr bwMode="auto">
          <a:xfrm>
            <a:off x="4376738" y="1271588"/>
            <a:ext cx="4953000" cy="2586037"/>
          </a:xfrm>
          <a:prstGeom prst="rect">
            <a:avLst/>
          </a:prstGeom>
          <a:solidFill>
            <a:schemeClr val="bg1">
              <a:alpha val="40000"/>
            </a:schemeClr>
          </a:solidFill>
          <a:ln w="9525">
            <a:noFill/>
            <a:miter lim="800000"/>
            <a:headEnd/>
            <a:tailEnd/>
          </a:ln>
        </p:spPr>
        <p:txBody>
          <a:bodyPr>
            <a:spAutoFit/>
          </a:bodyPr>
          <a:lstStyle/>
          <a:p>
            <a:pPr>
              <a:defRPr/>
            </a:pPr>
            <a:r>
              <a:rPr lang="es-ES_tradnl" altLang="es-AR" sz="1800" b="1" i="1" dirty="0">
                <a:solidFill>
                  <a:schemeClr val="accent5">
                    <a:lumMod val="25000"/>
                  </a:schemeClr>
                </a:solidFill>
                <a:cs typeface="Arial" charset="0"/>
              </a:rPr>
              <a:t>Leer y comentar con el examinador esta página de una revista</a:t>
            </a:r>
          </a:p>
          <a:p>
            <a:pPr>
              <a:defRPr/>
            </a:pPr>
            <a:endParaRPr lang="es-ES_tradnl" altLang="es-AR" sz="1800" b="1" dirty="0">
              <a:solidFill>
                <a:schemeClr val="accent5">
                  <a:lumMod val="25000"/>
                </a:schemeClr>
              </a:solidFill>
              <a:cs typeface="Arial" charset="0"/>
            </a:endParaRPr>
          </a:p>
          <a:p>
            <a:pPr marL="268288" indent="-268288">
              <a:buFont typeface="Courier New" pitchFamily="49" charset="0"/>
              <a:buChar char="o"/>
              <a:defRPr/>
            </a:pPr>
            <a:r>
              <a:rPr lang="es-ES_tradnl" altLang="es-AR" sz="1800" dirty="0">
                <a:solidFill>
                  <a:schemeClr val="accent5">
                    <a:lumMod val="25000"/>
                  </a:schemeClr>
                </a:solidFill>
                <a:cs typeface="Arial" charset="0"/>
              </a:rPr>
              <a:t>En qué consiste la adicción a las compras</a:t>
            </a:r>
          </a:p>
          <a:p>
            <a:pPr>
              <a:buFont typeface="Courier New" pitchFamily="49" charset="0"/>
              <a:buChar char="o"/>
              <a:defRPr/>
            </a:pPr>
            <a:r>
              <a:rPr lang="es-ES_tradnl" altLang="es-AR" sz="1800" dirty="0">
                <a:solidFill>
                  <a:schemeClr val="accent5">
                    <a:lumMod val="25000"/>
                  </a:schemeClr>
                </a:solidFill>
                <a:cs typeface="Arial" charset="0"/>
              </a:rPr>
              <a:t>  Causas</a:t>
            </a:r>
          </a:p>
          <a:p>
            <a:pPr>
              <a:buFont typeface="Courier New" pitchFamily="49" charset="0"/>
              <a:buChar char="o"/>
              <a:defRPr/>
            </a:pPr>
            <a:r>
              <a:rPr lang="es-ES_tradnl" altLang="es-AR" sz="1800" dirty="0">
                <a:solidFill>
                  <a:schemeClr val="accent5">
                    <a:lumMod val="25000"/>
                  </a:schemeClr>
                </a:solidFill>
                <a:cs typeface="Arial" charset="0"/>
              </a:rPr>
              <a:t>  Cómo combatirla</a:t>
            </a:r>
          </a:p>
          <a:p>
            <a:pPr>
              <a:buFont typeface="Courier New" pitchFamily="49" charset="0"/>
              <a:buChar char="o"/>
              <a:defRPr/>
            </a:pPr>
            <a:r>
              <a:rPr lang="es-ES_tradnl" altLang="es-AR" sz="1800" dirty="0">
                <a:solidFill>
                  <a:schemeClr val="accent5">
                    <a:lumMod val="25000"/>
                  </a:schemeClr>
                </a:solidFill>
                <a:cs typeface="Arial" charset="0"/>
              </a:rPr>
              <a:t>  Experiencias propias, ajenas ...</a:t>
            </a:r>
          </a:p>
          <a:p>
            <a:pPr>
              <a:defRPr/>
            </a:pPr>
            <a:endParaRPr lang="es-ES_tradnl" altLang="es-AR" sz="1800" b="1" dirty="0">
              <a:solidFill>
                <a:schemeClr val="accent5">
                  <a:lumMod val="25000"/>
                </a:schemeClr>
              </a:solidFill>
              <a:cs typeface="Arial" charset="0"/>
            </a:endParaRPr>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98450" y="1103313"/>
            <a:ext cx="3732213" cy="5583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3556" name="6 Rectángulo"/>
          <p:cNvSpPr>
            <a:spLocks noChangeArrowheads="1"/>
          </p:cNvSpPr>
          <p:nvPr/>
        </p:nvSpPr>
        <p:spPr bwMode="auto">
          <a:xfrm>
            <a:off x="4518025" y="1928813"/>
            <a:ext cx="4953000" cy="3694112"/>
          </a:xfrm>
          <a:prstGeom prst="rect">
            <a:avLst/>
          </a:prstGeom>
          <a:solidFill>
            <a:srgbClr val="FFFFFF">
              <a:alpha val="40000"/>
            </a:srgbClr>
          </a:solidFill>
          <a:ln w="9525">
            <a:noFill/>
            <a:miter lim="800000"/>
            <a:headEnd/>
            <a:tailEnd/>
          </a:ln>
        </p:spPr>
        <p:txBody>
          <a:bodyPr>
            <a:spAutoFit/>
          </a:bodyPr>
          <a:lstStyle/>
          <a:p>
            <a:pPr>
              <a:defRPr/>
            </a:pPr>
            <a:r>
              <a:rPr lang="es-ES_tradnl" altLang="es-AR" sz="1800" b="1" i="1" dirty="0">
                <a:solidFill>
                  <a:schemeClr val="accent5">
                    <a:lumMod val="25000"/>
                  </a:schemeClr>
                </a:solidFill>
                <a:cs typeface="Arial" charset="0"/>
              </a:rPr>
              <a:t>Leer y comentar con el examinador esta publicidad.</a:t>
            </a:r>
          </a:p>
          <a:p>
            <a:pPr>
              <a:defRPr/>
            </a:pPr>
            <a:endParaRPr lang="es-ES_tradnl" altLang="es-AR" sz="1800" b="1" dirty="0">
              <a:solidFill>
                <a:schemeClr val="accent5">
                  <a:lumMod val="25000"/>
                </a:schemeClr>
              </a:solidFill>
              <a:cs typeface="Arial" charset="0"/>
            </a:endParaRPr>
          </a:p>
          <a:p>
            <a:pPr marL="268288" indent="-268288">
              <a:buFont typeface="Courier New" pitchFamily="49" charset="0"/>
              <a:buChar char="o"/>
              <a:defRPr/>
            </a:pPr>
            <a:r>
              <a:rPr lang="es-ES_tradnl" altLang="es-AR" sz="1800" dirty="0">
                <a:solidFill>
                  <a:schemeClr val="accent5">
                    <a:lumMod val="25000"/>
                  </a:schemeClr>
                </a:solidFill>
                <a:cs typeface="Arial" charset="0"/>
              </a:rPr>
              <a:t>Las relaciones de amistad antes y       ahora, con Internet</a:t>
            </a:r>
          </a:p>
          <a:p>
            <a:pPr>
              <a:buFont typeface="Courier New" pitchFamily="49" charset="0"/>
              <a:buChar char="o"/>
              <a:defRPr/>
            </a:pPr>
            <a:r>
              <a:rPr lang="es-ES_tradnl" altLang="es-AR" sz="1800" dirty="0">
                <a:solidFill>
                  <a:schemeClr val="accent5">
                    <a:lumMod val="25000"/>
                  </a:schemeClr>
                </a:solidFill>
                <a:cs typeface="Arial" charset="0"/>
              </a:rPr>
              <a:t>  Historias y anécdotas</a:t>
            </a:r>
          </a:p>
          <a:p>
            <a:pPr>
              <a:buFont typeface="Courier New" pitchFamily="49" charset="0"/>
              <a:buChar char="o"/>
              <a:defRPr/>
            </a:pPr>
            <a:r>
              <a:rPr lang="es-ES_tradnl" altLang="es-AR" sz="1800" dirty="0">
                <a:solidFill>
                  <a:schemeClr val="accent5">
                    <a:lumMod val="25000"/>
                  </a:schemeClr>
                </a:solidFill>
                <a:cs typeface="Arial" charset="0"/>
              </a:rPr>
              <a:t>  Los peligros, las mentiras</a:t>
            </a:r>
          </a:p>
          <a:p>
            <a:pPr>
              <a:buFont typeface="Courier New" pitchFamily="49" charset="0"/>
              <a:buChar char="o"/>
              <a:defRPr/>
            </a:pPr>
            <a:r>
              <a:rPr lang="es-ES_tradnl" altLang="es-AR" sz="1800" dirty="0">
                <a:solidFill>
                  <a:schemeClr val="accent5">
                    <a:lumMod val="25000"/>
                  </a:schemeClr>
                </a:solidFill>
                <a:cs typeface="Arial" charset="0"/>
              </a:rPr>
              <a:t>  Las nuevas posibilidades</a:t>
            </a:r>
          </a:p>
          <a:p>
            <a:pPr>
              <a:defRPr/>
            </a:pPr>
            <a:r>
              <a:rPr lang="es-ES_tradnl" altLang="es-AR" sz="1800" dirty="0">
                <a:solidFill>
                  <a:schemeClr val="accent5">
                    <a:lumMod val="25000"/>
                  </a:schemeClr>
                </a:solidFill>
                <a:cs typeface="Arial" charset="0"/>
              </a:rPr>
              <a:t>    ...</a:t>
            </a:r>
          </a:p>
          <a:p>
            <a:pPr>
              <a:defRPr/>
            </a:pPr>
            <a:endParaRPr lang="es-ES_tradnl" altLang="es-AR" sz="1800" b="1" dirty="0">
              <a:solidFill>
                <a:schemeClr val="accent5">
                  <a:lumMod val="25000"/>
                </a:schemeClr>
              </a:solidFill>
              <a:cs typeface="Arial" charset="0"/>
            </a:endParaRPr>
          </a:p>
          <a:p>
            <a:pPr>
              <a:defRPr/>
            </a:pPr>
            <a:r>
              <a:rPr lang="es-ES_tradnl" altLang="es-AR" sz="1800" b="1" dirty="0">
                <a:solidFill>
                  <a:schemeClr val="accent5">
                    <a:lumMod val="25000"/>
                  </a:schemeClr>
                </a:solidFill>
                <a:cs typeface="Arial" charset="0"/>
              </a:rPr>
              <a:t>Y usted, ¿conoce estos sitios? ¿los usa o usaría? ¿Qué le diría a un amigo?</a:t>
            </a:r>
          </a:p>
        </p:txBody>
      </p:sp>
      <p:sp>
        <p:nvSpPr>
          <p:cNvPr id="20484" name="Espace réservé du numéro de diapositive 3"/>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7D5D2A0B-E42E-4F7A-9A92-C0773B1370BC}" type="slidenum">
              <a:rPr lang="es-ES_tradnl" altLang="es-AR" sz="1000" i="1">
                <a:solidFill>
                  <a:srgbClr val="000000"/>
                </a:solidFill>
                <a:latin typeface="Verdana" panose="020B0604030504040204" pitchFamily="34" charset="0"/>
              </a:rPr>
              <a:pPr algn="r" eaLnBrk="1" hangingPunct="1">
                <a:spcBef>
                  <a:spcPct val="0"/>
                </a:spcBef>
                <a:buFontTx/>
                <a:buNone/>
              </a:pPr>
              <a:t>18</a:t>
            </a:fld>
            <a:endParaRPr lang="es-ES_tradnl" altLang="es-AR" sz="1000" i="1">
              <a:solidFill>
                <a:srgbClr val="000000"/>
              </a:solidFill>
              <a:latin typeface="Verdana" panose="020B0604030504040204" pitchFamily="34" charset="0"/>
            </a:endParaRPr>
          </a:p>
        </p:txBody>
      </p:sp>
      <p:sp>
        <p:nvSpPr>
          <p:cNvPr id="6" name="2 Título"/>
          <p:cNvSpPr txBox="1">
            <a:spLocks/>
          </p:cNvSpPr>
          <p:nvPr/>
        </p:nvSpPr>
        <p:spPr bwMode="auto">
          <a:xfrm>
            <a:off x="488950" y="68263"/>
            <a:ext cx="7778750" cy="1143000"/>
          </a:xfrm>
          <a:prstGeom prst="rect">
            <a:avLst/>
          </a:prstGeom>
          <a:noFill/>
          <a:ln>
            <a:noFill/>
          </a:ln>
          <a:extLst/>
        </p:spPr>
        <p:txBody>
          <a:bodyPr anchor="ctr"/>
          <a:lstStyle>
            <a:lvl1pPr algn="ctr" rtl="0" eaLnBrk="0" fontAlgn="base" hangingPunct="0">
              <a:spcBef>
                <a:spcPct val="0"/>
              </a:spcBef>
              <a:spcAft>
                <a:spcPct val="0"/>
              </a:spcAft>
              <a:defRPr sz="4400" b="1" kern="1200">
                <a:solidFill>
                  <a:schemeClr val="tx1"/>
                </a:solidFill>
                <a:latin typeface="Baskerville Old Face" pitchFamily="18" charset="0"/>
                <a:ea typeface="+mj-ea"/>
                <a:cs typeface="+mj-cs"/>
              </a:defRPr>
            </a:lvl1pPr>
            <a:lvl2pPr algn="ctr" rtl="0" eaLnBrk="0" fontAlgn="base" hangingPunct="0">
              <a:spcBef>
                <a:spcPct val="0"/>
              </a:spcBef>
              <a:spcAft>
                <a:spcPct val="0"/>
              </a:spcAft>
              <a:defRPr sz="4400" b="1">
                <a:solidFill>
                  <a:schemeClr val="tx1"/>
                </a:solidFill>
                <a:latin typeface="Baskerville Old Face" pitchFamily="18" charset="0"/>
              </a:defRPr>
            </a:lvl2pPr>
            <a:lvl3pPr algn="ctr" rtl="0" eaLnBrk="0" fontAlgn="base" hangingPunct="0">
              <a:spcBef>
                <a:spcPct val="0"/>
              </a:spcBef>
              <a:spcAft>
                <a:spcPct val="0"/>
              </a:spcAft>
              <a:defRPr sz="4400" b="1">
                <a:solidFill>
                  <a:schemeClr val="tx1"/>
                </a:solidFill>
                <a:latin typeface="Baskerville Old Face" pitchFamily="18" charset="0"/>
              </a:defRPr>
            </a:lvl3pPr>
            <a:lvl4pPr algn="ctr" rtl="0" eaLnBrk="0" fontAlgn="base" hangingPunct="0">
              <a:spcBef>
                <a:spcPct val="0"/>
              </a:spcBef>
              <a:spcAft>
                <a:spcPct val="0"/>
              </a:spcAft>
              <a:defRPr sz="4400" b="1">
                <a:solidFill>
                  <a:schemeClr val="tx1"/>
                </a:solidFill>
                <a:latin typeface="Baskerville Old Face" pitchFamily="18" charset="0"/>
              </a:defRPr>
            </a:lvl4pPr>
            <a:lvl5pPr algn="ctr" rtl="0" eaLnBrk="0" fontAlgn="base" hangingPunct="0">
              <a:spcBef>
                <a:spcPct val="0"/>
              </a:spcBef>
              <a:spcAft>
                <a:spcPct val="0"/>
              </a:spcAft>
              <a:defRPr sz="4400" b="1">
                <a:solidFill>
                  <a:schemeClr val="tx1"/>
                </a:solidFill>
                <a:latin typeface="Baskerville Old Face" pitchFamily="18" charset="0"/>
              </a:defRPr>
            </a:lvl5pPr>
            <a:lvl6pPr marL="457200" algn="ctr" rtl="0" eaLnBrk="1" fontAlgn="base" hangingPunct="1">
              <a:spcBef>
                <a:spcPct val="0"/>
              </a:spcBef>
              <a:spcAft>
                <a:spcPct val="0"/>
              </a:spcAft>
              <a:defRPr sz="4400" b="1">
                <a:solidFill>
                  <a:schemeClr val="tx1"/>
                </a:solidFill>
                <a:latin typeface="Baskerville Old Face" pitchFamily="18" charset="0"/>
              </a:defRPr>
            </a:lvl6pPr>
            <a:lvl7pPr marL="914400" algn="ctr" rtl="0" eaLnBrk="1" fontAlgn="base" hangingPunct="1">
              <a:spcBef>
                <a:spcPct val="0"/>
              </a:spcBef>
              <a:spcAft>
                <a:spcPct val="0"/>
              </a:spcAft>
              <a:defRPr sz="4400" b="1">
                <a:solidFill>
                  <a:schemeClr val="tx1"/>
                </a:solidFill>
                <a:latin typeface="Baskerville Old Face" pitchFamily="18" charset="0"/>
              </a:defRPr>
            </a:lvl7pPr>
            <a:lvl8pPr marL="1371600" algn="ctr" rtl="0" eaLnBrk="1" fontAlgn="base" hangingPunct="1">
              <a:spcBef>
                <a:spcPct val="0"/>
              </a:spcBef>
              <a:spcAft>
                <a:spcPct val="0"/>
              </a:spcAft>
              <a:defRPr sz="4400" b="1">
                <a:solidFill>
                  <a:schemeClr val="tx1"/>
                </a:solidFill>
                <a:latin typeface="Baskerville Old Face" pitchFamily="18" charset="0"/>
              </a:defRPr>
            </a:lvl8pPr>
            <a:lvl9pPr marL="1828800" algn="ctr" rtl="0" eaLnBrk="1" fontAlgn="base" hangingPunct="1">
              <a:spcBef>
                <a:spcPct val="0"/>
              </a:spcBef>
              <a:spcAft>
                <a:spcPct val="0"/>
              </a:spcAft>
              <a:defRPr sz="4400" b="1">
                <a:solidFill>
                  <a:schemeClr val="tx1"/>
                </a:solidFill>
                <a:latin typeface="Baskerville Old Face" pitchFamily="18" charset="0"/>
              </a:defRPr>
            </a:lvl9pPr>
          </a:lstStyle>
          <a:p>
            <a:pPr eaLnBrk="1" hangingPunct="1">
              <a:defRPr/>
            </a:pPr>
            <a:r>
              <a:rPr lang="es-ES_tradnl" altLang="es-AR" sz="4000">
                <a:solidFill>
                  <a:srgbClr val="000066"/>
                </a:solidFill>
                <a:latin typeface="+mn-lt"/>
              </a:rPr>
              <a:t>Un ejemplo de actividad oral </a:t>
            </a:r>
            <a:endParaRPr lang="es-ES_tradnl" altLang="es-AR" sz="4000" dirty="0">
              <a:solidFill>
                <a:srgbClr val="000066"/>
              </a:solidFill>
              <a:latin typeface="+mn-lt"/>
            </a:endParaRP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3"/>
          <p:cNvSpPr txBox="1">
            <a:spLocks noChangeArrowheads="1"/>
          </p:cNvSpPr>
          <p:nvPr/>
        </p:nvSpPr>
        <p:spPr bwMode="auto">
          <a:xfrm>
            <a:off x="2665413" y="3052763"/>
            <a:ext cx="7246937" cy="3471862"/>
          </a:xfrm>
          <a:prstGeom prst="rect">
            <a:avLst/>
          </a:prstGeom>
          <a:noFill/>
          <a:ln w="9525">
            <a:noFill/>
            <a:miter lim="800000"/>
            <a:headEnd/>
            <a:tailEnd/>
          </a:ln>
        </p:spPr>
        <p:txBody>
          <a:bodyPr/>
          <a:lstStyle/>
          <a:p>
            <a:pPr marL="457200" indent="-457200">
              <a:spcBef>
                <a:spcPct val="20000"/>
              </a:spcBef>
              <a:buFont typeface="Wingdings" pitchFamily="2" charset="2"/>
              <a:buNone/>
              <a:defRPr/>
            </a:pPr>
            <a:r>
              <a:rPr lang="es-ES_tradnl" altLang="es-ES_tradnl" sz="2000" b="1" dirty="0">
                <a:solidFill>
                  <a:srgbClr val="000066"/>
                </a:solidFill>
                <a:latin typeface="+mn-lt"/>
                <a:cs typeface="Arial" charset="0"/>
              </a:rPr>
              <a:t>En el ejemplo considerado: </a:t>
            </a:r>
          </a:p>
          <a:p>
            <a:pPr marL="269875" indent="-269875">
              <a:spcBef>
                <a:spcPct val="20000"/>
              </a:spcBef>
              <a:buClr>
                <a:srgbClr val="000066"/>
              </a:buClr>
              <a:buFont typeface="Wingdings" pitchFamily="2" charset="2"/>
              <a:buChar char="§"/>
              <a:defRPr/>
            </a:pPr>
            <a:r>
              <a:rPr lang="es-ES_tradnl" altLang="es-ES_tradnl" sz="2000" b="1" dirty="0">
                <a:solidFill>
                  <a:srgbClr val="000066"/>
                </a:solidFill>
                <a:latin typeface="+mn-lt"/>
                <a:cs typeface="Arial" charset="0"/>
              </a:rPr>
              <a:t>Expresa su opinión sobre el sitio de citas por internet</a:t>
            </a:r>
          </a:p>
          <a:p>
            <a:pPr marL="269875" indent="-269875">
              <a:spcBef>
                <a:spcPct val="20000"/>
              </a:spcBef>
              <a:buClr>
                <a:srgbClr val="000066"/>
              </a:buClr>
              <a:buFont typeface="Wingdings" pitchFamily="2" charset="2"/>
              <a:buChar char="§"/>
              <a:defRPr/>
            </a:pPr>
            <a:r>
              <a:rPr lang="es-ES_tradnl" altLang="es-ES_tradnl" sz="2000" b="1" dirty="0">
                <a:solidFill>
                  <a:srgbClr val="000066"/>
                </a:solidFill>
                <a:latin typeface="+mn-lt"/>
                <a:cs typeface="Arial" charset="0"/>
              </a:rPr>
              <a:t>Explica qué es lo que dice la lámina como para que su comentario sea comprensible</a:t>
            </a:r>
          </a:p>
          <a:p>
            <a:pPr marL="269875" indent="-269875">
              <a:spcBef>
                <a:spcPct val="20000"/>
              </a:spcBef>
              <a:buClr>
                <a:srgbClr val="000066"/>
              </a:buClr>
              <a:buFont typeface="Wingdings" pitchFamily="2" charset="2"/>
              <a:buChar char="§"/>
              <a:defRPr/>
            </a:pPr>
            <a:r>
              <a:rPr lang="es-ES_tradnl" altLang="es-ES_tradnl" sz="2000" b="1" dirty="0">
                <a:solidFill>
                  <a:srgbClr val="000066"/>
                </a:solidFill>
                <a:latin typeface="+mn-lt"/>
                <a:cs typeface="Arial" charset="0"/>
              </a:rPr>
              <a:t>Expone su comentario y luego interactúa con el profesor, respetando los turnos de habla, respondiendo y agregando nueva información o expresiones. Inclusive puede hacer preguntas</a:t>
            </a:r>
          </a:p>
          <a:p>
            <a:pPr marL="269875" indent="-269875">
              <a:spcBef>
                <a:spcPct val="20000"/>
              </a:spcBef>
              <a:buClr>
                <a:srgbClr val="000066"/>
              </a:buClr>
              <a:buFont typeface="Wingdings" pitchFamily="2" charset="2"/>
              <a:buChar char="§"/>
              <a:defRPr/>
            </a:pPr>
            <a:r>
              <a:rPr lang="es-ES_tradnl" altLang="es-ES_tradnl" sz="2000" b="1" dirty="0">
                <a:solidFill>
                  <a:srgbClr val="000066"/>
                </a:solidFill>
                <a:latin typeface="+mn-lt"/>
                <a:cs typeface="Arial" charset="0"/>
              </a:rPr>
              <a:t>Da su opinión y la justifica. Explica e informa si es necesario</a:t>
            </a:r>
          </a:p>
          <a:p>
            <a:pPr marL="269875" indent="-269875">
              <a:spcBef>
                <a:spcPct val="20000"/>
              </a:spcBef>
              <a:buClr>
                <a:srgbClr val="000066"/>
              </a:buClr>
              <a:buFont typeface="Wingdings" pitchFamily="2" charset="2"/>
              <a:buChar char="§"/>
              <a:defRPr/>
            </a:pPr>
            <a:r>
              <a:rPr lang="es-ES_tradnl" altLang="es-ES_tradnl" sz="2000" b="1" dirty="0">
                <a:solidFill>
                  <a:srgbClr val="000066"/>
                </a:solidFill>
                <a:latin typeface="+mn-lt"/>
                <a:cs typeface="Arial" charset="0"/>
              </a:rPr>
              <a:t>Utiliza las formas lingüísticas más adecuadas a su propósito</a:t>
            </a:r>
          </a:p>
          <a:p>
            <a:pPr marL="457200" indent="-457200">
              <a:spcBef>
                <a:spcPct val="20000"/>
              </a:spcBef>
              <a:buFont typeface="Wingdings" pitchFamily="2" charset="2"/>
              <a:buNone/>
              <a:defRPr/>
            </a:pPr>
            <a:endParaRPr lang="es-ES_tradnl" altLang="es-ES_tradnl" sz="2000" b="1" dirty="0">
              <a:solidFill>
                <a:srgbClr val="000066"/>
              </a:solidFill>
              <a:latin typeface="+mn-lt"/>
              <a:cs typeface="Arial" charset="0"/>
            </a:endParaRPr>
          </a:p>
        </p:txBody>
      </p:sp>
      <p:sp>
        <p:nvSpPr>
          <p:cNvPr id="21507" name="Espace réservé du numéro de diapositive 3"/>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11064861-6B84-4815-9561-D3AEBEEB900F}" type="slidenum">
              <a:rPr lang="es-ES_tradnl" altLang="es-AR" sz="1000" i="1">
                <a:solidFill>
                  <a:srgbClr val="000000"/>
                </a:solidFill>
                <a:latin typeface="Verdana" panose="020B0604030504040204" pitchFamily="34" charset="0"/>
              </a:rPr>
              <a:pPr algn="r" eaLnBrk="1" hangingPunct="1">
                <a:spcBef>
                  <a:spcPct val="0"/>
                </a:spcBef>
                <a:buFontTx/>
                <a:buNone/>
              </a:pPr>
              <a:t>19</a:t>
            </a:fld>
            <a:endParaRPr lang="es-ES_tradnl" altLang="es-AR" sz="1000" i="1">
              <a:solidFill>
                <a:srgbClr val="000000"/>
              </a:solidFill>
              <a:latin typeface="Verdana" panose="020B0604030504040204" pitchFamily="34" charset="0"/>
            </a:endParaRPr>
          </a:p>
        </p:txBody>
      </p:sp>
      <p:sp>
        <p:nvSpPr>
          <p:cNvPr id="7" name="Rectangle 2"/>
          <p:cNvSpPr txBox="1">
            <a:spLocks noChangeArrowheads="1"/>
          </p:cNvSpPr>
          <p:nvPr/>
        </p:nvSpPr>
        <p:spPr bwMode="auto">
          <a:xfrm>
            <a:off x="166688" y="223838"/>
            <a:ext cx="7612062" cy="1143000"/>
          </a:xfrm>
          <a:prstGeom prst="rect">
            <a:avLst/>
          </a:prstGeom>
          <a:noFill/>
          <a:ln>
            <a:noFill/>
          </a:ln>
          <a:extLst/>
        </p:spPr>
        <p:txBody>
          <a:bodyPr anchor="ctr"/>
          <a:lstStyle>
            <a:lvl1pPr algn="ctr" rtl="0" eaLnBrk="0" fontAlgn="base" hangingPunct="0">
              <a:spcBef>
                <a:spcPct val="0"/>
              </a:spcBef>
              <a:spcAft>
                <a:spcPct val="0"/>
              </a:spcAft>
              <a:defRPr sz="4400" b="1" kern="1200">
                <a:solidFill>
                  <a:schemeClr val="tx1"/>
                </a:solidFill>
                <a:latin typeface="Baskerville Old Face" pitchFamily="18" charset="0"/>
                <a:ea typeface="+mj-ea"/>
                <a:cs typeface="+mj-cs"/>
              </a:defRPr>
            </a:lvl1pPr>
            <a:lvl2pPr algn="ctr" rtl="0" eaLnBrk="0" fontAlgn="base" hangingPunct="0">
              <a:spcBef>
                <a:spcPct val="0"/>
              </a:spcBef>
              <a:spcAft>
                <a:spcPct val="0"/>
              </a:spcAft>
              <a:defRPr sz="4400" b="1">
                <a:solidFill>
                  <a:schemeClr val="tx1"/>
                </a:solidFill>
                <a:latin typeface="Baskerville Old Face" pitchFamily="18" charset="0"/>
              </a:defRPr>
            </a:lvl2pPr>
            <a:lvl3pPr algn="ctr" rtl="0" eaLnBrk="0" fontAlgn="base" hangingPunct="0">
              <a:spcBef>
                <a:spcPct val="0"/>
              </a:spcBef>
              <a:spcAft>
                <a:spcPct val="0"/>
              </a:spcAft>
              <a:defRPr sz="4400" b="1">
                <a:solidFill>
                  <a:schemeClr val="tx1"/>
                </a:solidFill>
                <a:latin typeface="Baskerville Old Face" pitchFamily="18" charset="0"/>
              </a:defRPr>
            </a:lvl3pPr>
            <a:lvl4pPr algn="ctr" rtl="0" eaLnBrk="0" fontAlgn="base" hangingPunct="0">
              <a:spcBef>
                <a:spcPct val="0"/>
              </a:spcBef>
              <a:spcAft>
                <a:spcPct val="0"/>
              </a:spcAft>
              <a:defRPr sz="4400" b="1">
                <a:solidFill>
                  <a:schemeClr val="tx1"/>
                </a:solidFill>
                <a:latin typeface="Baskerville Old Face" pitchFamily="18" charset="0"/>
              </a:defRPr>
            </a:lvl4pPr>
            <a:lvl5pPr algn="ctr" rtl="0" eaLnBrk="0" fontAlgn="base" hangingPunct="0">
              <a:spcBef>
                <a:spcPct val="0"/>
              </a:spcBef>
              <a:spcAft>
                <a:spcPct val="0"/>
              </a:spcAft>
              <a:defRPr sz="4400" b="1">
                <a:solidFill>
                  <a:schemeClr val="tx1"/>
                </a:solidFill>
                <a:latin typeface="Baskerville Old Face" pitchFamily="18" charset="0"/>
              </a:defRPr>
            </a:lvl5pPr>
            <a:lvl6pPr marL="457200" algn="ctr" rtl="0" eaLnBrk="1" fontAlgn="base" hangingPunct="1">
              <a:spcBef>
                <a:spcPct val="0"/>
              </a:spcBef>
              <a:spcAft>
                <a:spcPct val="0"/>
              </a:spcAft>
              <a:defRPr sz="4400" b="1">
                <a:solidFill>
                  <a:schemeClr val="tx1"/>
                </a:solidFill>
                <a:latin typeface="Baskerville Old Face" pitchFamily="18" charset="0"/>
              </a:defRPr>
            </a:lvl6pPr>
            <a:lvl7pPr marL="914400" algn="ctr" rtl="0" eaLnBrk="1" fontAlgn="base" hangingPunct="1">
              <a:spcBef>
                <a:spcPct val="0"/>
              </a:spcBef>
              <a:spcAft>
                <a:spcPct val="0"/>
              </a:spcAft>
              <a:defRPr sz="4400" b="1">
                <a:solidFill>
                  <a:schemeClr val="tx1"/>
                </a:solidFill>
                <a:latin typeface="Baskerville Old Face" pitchFamily="18" charset="0"/>
              </a:defRPr>
            </a:lvl7pPr>
            <a:lvl8pPr marL="1371600" algn="ctr" rtl="0" eaLnBrk="1" fontAlgn="base" hangingPunct="1">
              <a:spcBef>
                <a:spcPct val="0"/>
              </a:spcBef>
              <a:spcAft>
                <a:spcPct val="0"/>
              </a:spcAft>
              <a:defRPr sz="4400" b="1">
                <a:solidFill>
                  <a:schemeClr val="tx1"/>
                </a:solidFill>
                <a:latin typeface="Baskerville Old Face" pitchFamily="18" charset="0"/>
              </a:defRPr>
            </a:lvl8pPr>
            <a:lvl9pPr marL="1828800" algn="ctr" rtl="0" eaLnBrk="1" fontAlgn="base" hangingPunct="1">
              <a:spcBef>
                <a:spcPct val="0"/>
              </a:spcBef>
              <a:spcAft>
                <a:spcPct val="0"/>
              </a:spcAft>
              <a:defRPr sz="4400" b="1">
                <a:solidFill>
                  <a:schemeClr val="tx1"/>
                </a:solidFill>
                <a:latin typeface="Baskerville Old Face" pitchFamily="18" charset="0"/>
              </a:defRPr>
            </a:lvl9pPr>
          </a:lstStyle>
          <a:p>
            <a:pPr eaLnBrk="1" hangingPunct="1">
              <a:defRPr/>
            </a:pPr>
            <a:r>
              <a:rPr lang="es-ES_tradnl" altLang="es-ES_tradnl" sz="4000" dirty="0">
                <a:solidFill>
                  <a:srgbClr val="000066"/>
                </a:solidFill>
                <a:latin typeface="+mn-lt"/>
              </a:rPr>
              <a:t>Qué se espera del candidato</a:t>
            </a:r>
            <a:br>
              <a:rPr lang="es-ES_tradnl" altLang="es-ES_tradnl" sz="4000" dirty="0">
                <a:solidFill>
                  <a:srgbClr val="000066"/>
                </a:solidFill>
                <a:latin typeface="+mn-lt"/>
              </a:rPr>
            </a:br>
            <a:r>
              <a:rPr lang="es-ES_tradnl" altLang="es-ES_tradnl" sz="4000" dirty="0">
                <a:solidFill>
                  <a:srgbClr val="000066"/>
                </a:solidFill>
                <a:latin typeface="+mn-lt"/>
              </a:rPr>
              <a:t>en la sección oral</a:t>
            </a:r>
          </a:p>
        </p:txBody>
      </p:sp>
      <p:sp>
        <p:nvSpPr>
          <p:cNvPr id="8" name="Rectangle 3"/>
          <p:cNvSpPr txBox="1">
            <a:spLocks noChangeArrowheads="1"/>
          </p:cNvSpPr>
          <p:nvPr/>
        </p:nvSpPr>
        <p:spPr bwMode="auto">
          <a:xfrm>
            <a:off x="1044575" y="1566863"/>
            <a:ext cx="8416925" cy="1485900"/>
          </a:xfrm>
          <a:prstGeom prst="rect">
            <a:avLst/>
          </a:prstGeom>
          <a:solidFill>
            <a:schemeClr val="tx2">
              <a:lumMod val="20000"/>
              <a:lumOff val="80000"/>
            </a:schemeClr>
          </a:solidFill>
          <a:ln>
            <a:noFill/>
          </a:ln>
          <a:extLst/>
        </p:spPr>
        <p:txBody>
          <a:bodyPr anchor="ct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eaLnBrk="1" hangingPunct="1">
              <a:buFont typeface="Wingdings" pitchFamily="2" charset="2"/>
              <a:buNone/>
              <a:defRPr/>
            </a:pPr>
            <a:r>
              <a:rPr lang="es-AR" altLang="es-AR" sz="2800" b="1" dirty="0">
                <a:solidFill>
                  <a:srgbClr val="000066"/>
                </a:solidFill>
              </a:rPr>
              <a:t>Que explique y comente la lámina de una manera adecuada a una conversación entre dos interlocutores, un estudiante y un profesor.</a:t>
            </a:r>
            <a:endParaRPr lang="es-ES_tradnl" altLang="es-AR" sz="2800" b="1" dirty="0">
              <a:solidFill>
                <a:srgbClr val="000066"/>
              </a:solidFill>
            </a:endParaRPr>
          </a:p>
        </p:txBody>
      </p:sp>
      <p:sp>
        <p:nvSpPr>
          <p:cNvPr id="9" name="8 Flecha derecha"/>
          <p:cNvSpPr/>
          <p:nvPr/>
        </p:nvSpPr>
        <p:spPr>
          <a:xfrm>
            <a:off x="193675" y="1827213"/>
            <a:ext cx="758825" cy="965200"/>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A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
          <p:cNvSpPr>
            <a:spLocks noGrp="1"/>
          </p:cNvSpPr>
          <p:nvPr>
            <p:ph type="body" idx="4294967295"/>
          </p:nvPr>
        </p:nvSpPr>
        <p:spPr>
          <a:xfrm>
            <a:off x="669925" y="2795588"/>
            <a:ext cx="8915400" cy="2944812"/>
          </a:xfrm>
        </p:spPr>
        <p:txBody>
          <a:bodyPr/>
          <a:lstStyle/>
          <a:p>
            <a:pPr algn="r">
              <a:buFont typeface="Arial" panose="020B0604020202020204" pitchFamily="34" charset="0"/>
              <a:buNone/>
            </a:pPr>
            <a:r>
              <a:rPr lang="es-ES" altLang="es-AR" sz="4800" b="1">
                <a:solidFill>
                  <a:srgbClr val="000066"/>
                </a:solidFill>
              </a:rPr>
              <a:t>El examen</a:t>
            </a:r>
          </a:p>
          <a:p>
            <a:pPr algn="r">
              <a:buFont typeface="Arial" panose="020B0604020202020204" pitchFamily="34" charset="0"/>
              <a:buNone/>
            </a:pPr>
            <a:r>
              <a:rPr lang="es-ES" altLang="es-AR" sz="4800" b="1">
                <a:solidFill>
                  <a:srgbClr val="000066"/>
                </a:solidFill>
              </a:rPr>
              <a:t>Los resultados y el certificado</a:t>
            </a:r>
          </a:p>
          <a:p>
            <a:pPr algn="r">
              <a:buFont typeface="Arial" panose="020B0604020202020204" pitchFamily="34" charset="0"/>
              <a:buNone/>
            </a:pPr>
            <a:r>
              <a:rPr lang="es-ES" altLang="es-AR" sz="4800" b="1">
                <a:solidFill>
                  <a:srgbClr val="000066"/>
                </a:solidFill>
              </a:rPr>
              <a:t>La aplicación del examen</a:t>
            </a:r>
          </a:p>
          <a:p>
            <a:pPr>
              <a:buFont typeface="Arial" panose="020B0604020202020204" pitchFamily="34" charset="0"/>
              <a:buNone/>
            </a:pPr>
            <a:endParaRPr lang="es-ES" altLang="es-AR" sz="2800" b="1">
              <a:solidFill>
                <a:srgbClr val="000066"/>
              </a:solidFill>
            </a:endParaRPr>
          </a:p>
        </p:txBody>
      </p:sp>
      <p:sp>
        <p:nvSpPr>
          <p:cNvPr id="4099"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A866F2C5-69BC-4D5C-B58A-650DC5C858C5}" type="slidenum">
              <a:rPr lang="es-ES_tradnl" altLang="es-AR" sz="1000" i="1">
                <a:solidFill>
                  <a:srgbClr val="000000"/>
                </a:solidFill>
                <a:latin typeface="Verdana" panose="020B0604030504040204" pitchFamily="34" charset="0"/>
              </a:rPr>
              <a:pPr algn="r" eaLnBrk="1" hangingPunct="1">
                <a:spcBef>
                  <a:spcPct val="0"/>
                </a:spcBef>
                <a:buFontTx/>
                <a:buNone/>
              </a:pPr>
              <a:t>2</a:t>
            </a:fld>
            <a:endParaRPr lang="es-ES_tradnl" altLang="es-AR" sz="1000" i="1">
              <a:solidFill>
                <a:srgbClr val="000000"/>
              </a:solidFill>
              <a:latin typeface="Verdana" panose="020B0604030504040204" pitchFamily="34" charset="0"/>
            </a:endParaRPr>
          </a:p>
        </p:txBody>
      </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BC810086-23D3-46AC-9884-92C20EC578E4}" type="slidenum">
              <a:rPr lang="es-ES_tradnl" altLang="es-AR" sz="1000" i="1">
                <a:solidFill>
                  <a:srgbClr val="000000"/>
                </a:solidFill>
                <a:latin typeface="Verdana" panose="020B0604030504040204" pitchFamily="34" charset="0"/>
              </a:rPr>
              <a:pPr algn="r" eaLnBrk="1" hangingPunct="1">
                <a:spcBef>
                  <a:spcPct val="0"/>
                </a:spcBef>
                <a:buFontTx/>
                <a:buNone/>
              </a:pPr>
              <a:t>20</a:t>
            </a:fld>
            <a:endParaRPr lang="es-ES_tradnl" altLang="es-AR" sz="1000" i="1">
              <a:solidFill>
                <a:srgbClr val="000000"/>
              </a:solidFill>
              <a:latin typeface="Verdana" panose="020B0604030504040204" pitchFamily="34" charset="0"/>
            </a:endParaRPr>
          </a:p>
        </p:txBody>
      </p:sp>
      <p:sp>
        <p:nvSpPr>
          <p:cNvPr id="4" name="Rectangle 3"/>
          <p:cNvSpPr txBox="1">
            <a:spLocks/>
          </p:cNvSpPr>
          <p:nvPr/>
        </p:nvSpPr>
        <p:spPr bwMode="auto">
          <a:xfrm>
            <a:off x="657225" y="2795588"/>
            <a:ext cx="8915400" cy="2944812"/>
          </a:xfrm>
          <a:prstGeom prst="rect">
            <a:avLst/>
          </a:prstGeom>
          <a:noFill/>
          <a:ln>
            <a:noFill/>
          </a:ln>
          <a:extLst/>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eaLnBrk="1" hangingPunct="1">
              <a:spcBef>
                <a:spcPts val="600"/>
              </a:spcBef>
              <a:buFont typeface="Arial" charset="0"/>
              <a:buNone/>
              <a:defRPr/>
            </a:pPr>
            <a:r>
              <a:rPr lang="es-AR" sz="4800" b="1" dirty="0">
                <a:solidFill>
                  <a:srgbClr val="000066"/>
                </a:solidFill>
              </a:rPr>
              <a:t>Los resultados y el certificado </a:t>
            </a:r>
          </a:p>
          <a:p>
            <a:pPr>
              <a:buFont typeface="Arial" charset="0"/>
              <a:buNone/>
              <a:defRPr/>
            </a:pPr>
            <a:endParaRPr lang="es-ES" sz="4800" b="1" dirty="0">
              <a:solidFill>
                <a:srgbClr val="000066"/>
              </a:solidFill>
            </a:endParaRPr>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2 Título"/>
          <p:cNvSpPr>
            <a:spLocks noGrp="1"/>
          </p:cNvSpPr>
          <p:nvPr>
            <p:ph type="title" idx="4294967295"/>
          </p:nvPr>
        </p:nvSpPr>
        <p:spPr>
          <a:xfrm>
            <a:off x="1133475" y="120650"/>
            <a:ext cx="7639050" cy="1014413"/>
          </a:xfrm>
        </p:spPr>
        <p:txBody>
          <a:bodyPr/>
          <a:lstStyle/>
          <a:p>
            <a:pPr eaLnBrk="1" hangingPunct="1"/>
            <a:r>
              <a:rPr lang="es-ES" altLang="es-AR" sz="4000">
                <a:solidFill>
                  <a:srgbClr val="002060"/>
                </a:solidFill>
                <a:latin typeface="Calibri" panose="020F0502020204030204" pitchFamily="34" charset="0"/>
              </a:rPr>
              <a:t>Los resultados</a:t>
            </a:r>
            <a:endParaRPr lang="es-AR" altLang="es-AR" sz="4000">
              <a:solidFill>
                <a:srgbClr val="002060"/>
              </a:solidFill>
              <a:latin typeface="Calibri" panose="020F0502020204030204" pitchFamily="34" charset="0"/>
            </a:endParaRPr>
          </a:p>
        </p:txBody>
      </p:sp>
      <p:sp>
        <p:nvSpPr>
          <p:cNvPr id="6" name="Content Placeholder 8"/>
          <p:cNvSpPr txBox="1">
            <a:spLocks/>
          </p:cNvSpPr>
          <p:nvPr/>
        </p:nvSpPr>
        <p:spPr bwMode="auto">
          <a:xfrm>
            <a:off x="2022475" y="1382713"/>
            <a:ext cx="7589838" cy="4816475"/>
          </a:xfrm>
          <a:prstGeom prst="rect">
            <a:avLst/>
          </a:prstGeom>
          <a:solidFill>
            <a:schemeClr val="accent5">
              <a:lumMod val="40000"/>
              <a:lumOff val="60000"/>
            </a:schemeClr>
          </a:solidFill>
          <a:ln>
            <a:noFill/>
          </a:ln>
          <a:extLst/>
        </p:spPr>
        <p:txBody>
          <a:bodyPr anchor="ctr"/>
          <a:lstStyle>
            <a:defPPr>
              <a:defRPr lang="en-US"/>
            </a:defPPr>
            <a:lvl1pPr marL="457200" indent="-457200" algn="just" eaLnBrk="1" hangingPunct="1">
              <a:spcBef>
                <a:spcPct val="20000"/>
              </a:spcBef>
              <a:buClr>
                <a:srgbClr val="000066"/>
              </a:buClr>
              <a:buFont typeface="Wingdings" pitchFamily="2" charset="2"/>
              <a:buChar char="§"/>
              <a:defRPr sz="2800">
                <a:solidFill>
                  <a:srgbClr val="000066"/>
                </a:solidFill>
                <a:latin typeface="Calibri"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es-AR" dirty="0">
                <a:cs typeface="Arial" charset="0"/>
              </a:rPr>
              <a:t>Se publican entre 45 y 60 días después del examen en </a:t>
            </a:r>
            <a:r>
              <a:rPr lang="es-AR" dirty="0">
                <a:cs typeface="Arial" charset="0"/>
                <a:hlinkClick r:id="rId2"/>
              </a:rPr>
              <a:t>www.celu.edu.ar</a:t>
            </a:r>
            <a:r>
              <a:rPr lang="es-AR" dirty="0">
                <a:cs typeface="Arial" charset="0"/>
              </a:rPr>
              <a:t> </a:t>
            </a:r>
          </a:p>
          <a:p>
            <a:pPr>
              <a:defRPr/>
            </a:pPr>
            <a:endParaRPr lang="es-AR" sz="1200" dirty="0">
              <a:cs typeface="Arial" charset="0"/>
            </a:endParaRPr>
          </a:p>
          <a:p>
            <a:pPr>
              <a:defRPr/>
            </a:pPr>
            <a:r>
              <a:rPr lang="es-AR" dirty="0">
                <a:cs typeface="Arial" charset="0"/>
              </a:rPr>
              <a:t>Se publican con el número de inscripto, NO se publican los nombres de los candidatos.</a:t>
            </a:r>
          </a:p>
          <a:p>
            <a:pPr>
              <a:defRPr/>
            </a:pPr>
            <a:endParaRPr lang="es-AR" sz="1200" dirty="0">
              <a:cs typeface="Arial" charset="0"/>
            </a:endParaRPr>
          </a:p>
          <a:p>
            <a:pPr>
              <a:defRPr/>
            </a:pPr>
            <a:r>
              <a:rPr lang="es-AR" dirty="0">
                <a:cs typeface="Arial" charset="0"/>
              </a:rPr>
              <a:t>Hasta la obtención del certificado, el candidato cuenta con la constancia de rendición de examen en la cual figura el número de inscripto. Con la misma, se puede verificar el resultado obtenido consultando en el sitio web. </a:t>
            </a:r>
          </a:p>
        </p:txBody>
      </p:sp>
      <p:sp>
        <p:nvSpPr>
          <p:cNvPr id="23556"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8E653B8C-03CE-43CE-812A-7BC185A54DF9}" type="slidenum">
              <a:rPr lang="es-ES_tradnl" altLang="es-AR" sz="1000" i="1">
                <a:solidFill>
                  <a:srgbClr val="000000"/>
                </a:solidFill>
                <a:latin typeface="Verdana" panose="020B0604030504040204" pitchFamily="34" charset="0"/>
              </a:rPr>
              <a:pPr algn="r" eaLnBrk="1" hangingPunct="1">
                <a:spcBef>
                  <a:spcPct val="0"/>
                </a:spcBef>
                <a:buFontTx/>
                <a:buNone/>
              </a:pPr>
              <a:t>21</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2 Título"/>
          <p:cNvSpPr>
            <a:spLocks noGrp="1"/>
          </p:cNvSpPr>
          <p:nvPr>
            <p:ph type="title" idx="4294967295"/>
          </p:nvPr>
        </p:nvSpPr>
        <p:spPr>
          <a:xfrm>
            <a:off x="1017588" y="133350"/>
            <a:ext cx="7639050" cy="1014413"/>
          </a:xfrm>
        </p:spPr>
        <p:txBody>
          <a:bodyPr/>
          <a:lstStyle/>
          <a:p>
            <a:pPr eaLnBrk="1" hangingPunct="1"/>
            <a:r>
              <a:rPr lang="es-ES" altLang="es-AR" sz="4000">
                <a:solidFill>
                  <a:srgbClr val="002060"/>
                </a:solidFill>
                <a:latin typeface="Calibri" panose="020F0502020204030204" pitchFamily="34" charset="0"/>
              </a:rPr>
              <a:t>El certificado</a:t>
            </a:r>
            <a:endParaRPr lang="es-AR" altLang="es-AR" sz="4000">
              <a:solidFill>
                <a:srgbClr val="002060"/>
              </a:solidFill>
              <a:latin typeface="Calibri" panose="020F0502020204030204" pitchFamily="34" charset="0"/>
            </a:endParaRPr>
          </a:p>
        </p:txBody>
      </p:sp>
      <p:sp>
        <p:nvSpPr>
          <p:cNvPr id="6" name="Content Placeholder 8"/>
          <p:cNvSpPr txBox="1">
            <a:spLocks/>
          </p:cNvSpPr>
          <p:nvPr/>
        </p:nvSpPr>
        <p:spPr bwMode="auto">
          <a:xfrm>
            <a:off x="1519238" y="1382713"/>
            <a:ext cx="8093075" cy="4451350"/>
          </a:xfrm>
          <a:prstGeom prst="rect">
            <a:avLst/>
          </a:prstGeom>
          <a:solidFill>
            <a:schemeClr val="accent5">
              <a:lumMod val="40000"/>
              <a:lumOff val="60000"/>
            </a:schemeClr>
          </a:solidFill>
          <a:ln>
            <a:noFill/>
          </a:ln>
          <a:extLst/>
        </p:spPr>
        <p:txBody>
          <a:bodyPr anchor="ctr"/>
          <a:lstStyle>
            <a:defPPr>
              <a:defRPr lang="en-US"/>
            </a:defPPr>
            <a:lvl1pPr marL="457200" indent="-457200" algn="just" eaLnBrk="1" hangingPunct="1">
              <a:spcBef>
                <a:spcPct val="20000"/>
              </a:spcBef>
              <a:buClr>
                <a:srgbClr val="000066"/>
              </a:buClr>
              <a:buFont typeface="Wingdings" pitchFamily="2" charset="2"/>
              <a:buChar char="§"/>
              <a:defRPr sz="2800">
                <a:solidFill>
                  <a:srgbClr val="000066"/>
                </a:solidFill>
                <a:latin typeface="Calibri"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es-AR" dirty="0">
                <a:cs typeface="Arial" charset="0"/>
              </a:rPr>
              <a:t>Se entrega tres meses después de publicados los resultados.</a:t>
            </a:r>
          </a:p>
          <a:p>
            <a:pPr>
              <a:defRPr/>
            </a:pPr>
            <a:endParaRPr lang="es-AR" sz="1200" dirty="0">
              <a:cs typeface="Arial" charset="0"/>
            </a:endParaRPr>
          </a:p>
          <a:p>
            <a:pPr>
              <a:defRPr/>
            </a:pPr>
            <a:r>
              <a:rPr lang="es-AR" dirty="0">
                <a:cs typeface="Arial" charset="0"/>
              </a:rPr>
              <a:t>Se entrega en la sede o se envía por correo SIN costo extra.</a:t>
            </a:r>
          </a:p>
          <a:p>
            <a:pPr>
              <a:defRPr/>
            </a:pPr>
            <a:endParaRPr lang="es-AR" sz="1200" dirty="0">
              <a:cs typeface="Arial" charset="0"/>
            </a:endParaRPr>
          </a:p>
          <a:p>
            <a:pPr>
              <a:defRPr/>
            </a:pPr>
            <a:r>
              <a:rPr lang="es-AR" dirty="0">
                <a:cs typeface="Arial" charset="0"/>
              </a:rPr>
              <a:t>ATENCIÓN: NO se hacen certificados provisorios.</a:t>
            </a:r>
          </a:p>
          <a:p>
            <a:pPr>
              <a:defRPr/>
            </a:pPr>
            <a:endParaRPr lang="es-AR" sz="1200" dirty="0">
              <a:cs typeface="Arial" charset="0"/>
            </a:endParaRPr>
          </a:p>
          <a:p>
            <a:pPr>
              <a:defRPr/>
            </a:pPr>
            <a:r>
              <a:rPr lang="es-AR" dirty="0">
                <a:cs typeface="Arial" charset="0"/>
              </a:rPr>
              <a:t>Hasta la obtención del certificado el candidato cuenta con la constancia de examen.</a:t>
            </a:r>
          </a:p>
        </p:txBody>
      </p:sp>
      <p:sp>
        <p:nvSpPr>
          <p:cNvPr id="24580"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1C443FA4-310F-41E0-A45C-54A12D930F72}" type="slidenum">
              <a:rPr lang="es-ES_tradnl" altLang="es-AR" sz="1000" i="1">
                <a:solidFill>
                  <a:srgbClr val="000000"/>
                </a:solidFill>
                <a:latin typeface="Verdana" panose="020B0604030504040204" pitchFamily="34" charset="0"/>
              </a:rPr>
              <a:pPr algn="r" eaLnBrk="1" hangingPunct="1">
                <a:spcBef>
                  <a:spcPct val="0"/>
                </a:spcBef>
                <a:buFontTx/>
                <a:buNone/>
              </a:pPr>
              <a:t>22</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6" descr="Picture1.jpg"/>
          <p:cNvPicPr>
            <a:picLocks noChangeAspect="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614363" y="790575"/>
            <a:ext cx="3952875" cy="5434013"/>
          </a:xfrm>
          <a:prstGeom prst="rect">
            <a:avLst/>
          </a:prstGeom>
          <a:noFill/>
          <a:ln w="9525">
            <a:solidFill>
              <a:srgbClr val="002060"/>
            </a:solidFill>
            <a:miter lim="800000"/>
            <a:headEnd/>
            <a:tailEnd/>
          </a:ln>
          <a:extLst>
            <a:ext uri="{909E8E84-426E-40DD-AFC4-6F175D3DCCD1}">
              <a14:hiddenFill xmlns="" xmlns:a14="http://schemas.microsoft.com/office/drawing/2010/main">
                <a:solidFill>
                  <a:srgbClr val="FFFFFF"/>
                </a:solidFill>
              </a14:hiddenFill>
            </a:ext>
          </a:extLst>
        </p:spPr>
      </p:pic>
      <p:sp>
        <p:nvSpPr>
          <p:cNvPr id="26629" name="TextBox 8"/>
          <p:cNvSpPr txBox="1">
            <a:spLocks noChangeArrowheads="1"/>
          </p:cNvSpPr>
          <p:nvPr/>
        </p:nvSpPr>
        <p:spPr bwMode="auto">
          <a:xfrm>
            <a:off x="6005513" y="2135188"/>
            <a:ext cx="1835150" cy="1076325"/>
          </a:xfrm>
          <a:prstGeom prst="rect">
            <a:avLst/>
          </a:prstGeom>
          <a:solidFill>
            <a:schemeClr val="bg1"/>
          </a:solidFill>
          <a:ln w="9525">
            <a:solidFill>
              <a:srgbClr val="002060"/>
            </a:solidFill>
            <a:miter lim="800000"/>
            <a:headEnd/>
            <a:tailEnd/>
          </a:ln>
        </p:spPr>
        <p:txBody>
          <a:bodyPr wrap="none">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eaLnBrk="1" hangingPunct="1">
              <a:defRPr/>
            </a:pPr>
            <a:r>
              <a:rPr lang="es-AR">
                <a:latin typeface="+mn-lt"/>
              </a:rPr>
              <a:t>Datos del candidato</a:t>
            </a:r>
          </a:p>
          <a:p>
            <a:pPr eaLnBrk="1" hangingPunct="1">
              <a:buFont typeface="Arial" charset="0"/>
              <a:buChar char="•"/>
              <a:defRPr/>
            </a:pPr>
            <a:r>
              <a:rPr lang="es-AR">
                <a:latin typeface="+mn-lt"/>
              </a:rPr>
              <a:t>Nombre</a:t>
            </a:r>
          </a:p>
          <a:p>
            <a:pPr eaLnBrk="1" hangingPunct="1">
              <a:buFont typeface="Arial" charset="0"/>
              <a:buChar char="•"/>
              <a:defRPr/>
            </a:pPr>
            <a:r>
              <a:rPr lang="es-AR">
                <a:latin typeface="+mn-lt"/>
              </a:rPr>
              <a:t>Documento</a:t>
            </a:r>
          </a:p>
          <a:p>
            <a:pPr eaLnBrk="1" hangingPunct="1">
              <a:buFont typeface="Arial" charset="0"/>
              <a:buChar char="•"/>
              <a:defRPr/>
            </a:pPr>
            <a:r>
              <a:rPr lang="es-AR">
                <a:latin typeface="+mn-lt"/>
              </a:rPr>
              <a:t>Nacionalidad</a:t>
            </a:r>
          </a:p>
        </p:txBody>
      </p:sp>
      <p:cxnSp>
        <p:nvCxnSpPr>
          <p:cNvPr id="12" name="Straight Arrow Connector 11"/>
          <p:cNvCxnSpPr/>
          <p:nvPr/>
        </p:nvCxnSpPr>
        <p:spPr>
          <a:xfrm flipV="1">
            <a:off x="3568700" y="2514600"/>
            <a:ext cx="2386013" cy="747713"/>
          </a:xfrm>
          <a:prstGeom prst="straightConnector1">
            <a:avLst/>
          </a:prstGeom>
          <a:ln w="254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2060575" y="2720975"/>
            <a:ext cx="3938588" cy="974725"/>
          </a:xfrm>
          <a:prstGeom prst="straightConnector1">
            <a:avLst/>
          </a:prstGeom>
          <a:ln w="254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2227263" y="3040063"/>
            <a:ext cx="3749675" cy="766762"/>
          </a:xfrm>
          <a:prstGeom prst="straightConnector1">
            <a:avLst/>
          </a:prstGeom>
          <a:ln w="254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6633" name="TextBox 21"/>
          <p:cNvSpPr txBox="1">
            <a:spLocks noChangeArrowheads="1"/>
          </p:cNvSpPr>
          <p:nvPr/>
        </p:nvSpPr>
        <p:spPr bwMode="auto">
          <a:xfrm>
            <a:off x="5835650" y="3792538"/>
            <a:ext cx="1406525" cy="339725"/>
          </a:xfrm>
          <a:prstGeom prst="rect">
            <a:avLst/>
          </a:prstGeom>
          <a:solidFill>
            <a:schemeClr val="bg1"/>
          </a:solidFill>
          <a:ln w="9525">
            <a:solidFill>
              <a:srgbClr val="002060"/>
            </a:solidFill>
            <a:miter lim="800000"/>
            <a:headEnd/>
            <a:tailEnd/>
          </a:ln>
        </p:spPr>
        <p:txBody>
          <a:bodyPr wrap="none">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eaLnBrk="1" hangingPunct="1">
              <a:defRPr/>
            </a:pPr>
            <a:r>
              <a:rPr lang="es-AR">
                <a:latin typeface="+mn-lt"/>
              </a:rPr>
              <a:t>Nivel obtenido</a:t>
            </a:r>
          </a:p>
        </p:txBody>
      </p:sp>
      <p:cxnSp>
        <p:nvCxnSpPr>
          <p:cNvPr id="23" name="Straight Arrow Connector 22"/>
          <p:cNvCxnSpPr/>
          <p:nvPr/>
        </p:nvCxnSpPr>
        <p:spPr>
          <a:xfrm flipV="1">
            <a:off x="3219450" y="3937000"/>
            <a:ext cx="2574925" cy="163513"/>
          </a:xfrm>
          <a:prstGeom prst="straightConnector1">
            <a:avLst/>
          </a:prstGeom>
          <a:ln w="254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6635" name="TextBox 25"/>
          <p:cNvSpPr txBox="1">
            <a:spLocks noChangeArrowheads="1"/>
          </p:cNvSpPr>
          <p:nvPr/>
        </p:nvSpPr>
        <p:spPr bwMode="auto">
          <a:xfrm>
            <a:off x="5842000" y="4489450"/>
            <a:ext cx="2417763" cy="346075"/>
          </a:xfrm>
          <a:prstGeom prst="rect">
            <a:avLst/>
          </a:prstGeom>
          <a:solidFill>
            <a:schemeClr val="bg1"/>
          </a:solidFill>
          <a:ln w="9525">
            <a:solidFill>
              <a:srgbClr val="002060"/>
            </a:solidFill>
            <a:miter lim="800000"/>
            <a:headEnd/>
            <a:tailEnd/>
          </a:ln>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eaLnBrk="1" hangingPunct="1">
              <a:defRPr/>
            </a:pPr>
            <a:r>
              <a:rPr lang="es-AR">
                <a:latin typeface="+mn-lt"/>
              </a:rPr>
              <a:t>Firmas institucionales</a:t>
            </a:r>
          </a:p>
        </p:txBody>
      </p:sp>
      <p:cxnSp>
        <p:nvCxnSpPr>
          <p:cNvPr id="27" name="Straight Arrow Connector 26"/>
          <p:cNvCxnSpPr/>
          <p:nvPr/>
        </p:nvCxnSpPr>
        <p:spPr>
          <a:xfrm flipV="1">
            <a:off x="3914775" y="4640263"/>
            <a:ext cx="1912938" cy="176212"/>
          </a:xfrm>
          <a:prstGeom prst="straightConnector1">
            <a:avLst/>
          </a:prstGeom>
          <a:ln w="254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6637" name="TextBox 28"/>
          <p:cNvSpPr txBox="1">
            <a:spLocks noChangeArrowheads="1"/>
          </p:cNvSpPr>
          <p:nvPr/>
        </p:nvSpPr>
        <p:spPr bwMode="auto">
          <a:xfrm>
            <a:off x="5716588" y="5359400"/>
            <a:ext cx="2260600" cy="830263"/>
          </a:xfrm>
          <a:prstGeom prst="rect">
            <a:avLst/>
          </a:prstGeom>
          <a:solidFill>
            <a:schemeClr val="bg1"/>
          </a:solidFill>
          <a:ln w="9525">
            <a:solidFill>
              <a:srgbClr val="002060"/>
            </a:solidFill>
            <a:miter lim="800000"/>
            <a:headEnd/>
            <a:tailEnd/>
          </a:ln>
        </p:spPr>
        <p:txBody>
          <a:bodyPr wrap="none">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eaLnBrk="1" hangingPunct="1">
              <a:defRPr/>
            </a:pPr>
            <a:r>
              <a:rPr lang="es-AR">
                <a:latin typeface="+mn-lt"/>
              </a:rPr>
              <a:t>Descripción de niveles</a:t>
            </a:r>
          </a:p>
          <a:p>
            <a:pPr eaLnBrk="1" hangingPunct="1">
              <a:buFont typeface="Arial" charset="0"/>
              <a:buChar char="•"/>
              <a:defRPr/>
            </a:pPr>
            <a:r>
              <a:rPr lang="es-AR">
                <a:latin typeface="+mn-lt"/>
              </a:rPr>
              <a:t>Comparación con MCER</a:t>
            </a:r>
          </a:p>
          <a:p>
            <a:pPr eaLnBrk="1" hangingPunct="1">
              <a:buFont typeface="Arial" charset="0"/>
              <a:buChar char="•"/>
              <a:defRPr/>
            </a:pPr>
            <a:r>
              <a:rPr lang="es-AR">
                <a:latin typeface="+mn-lt"/>
              </a:rPr>
              <a:t>Comparación con ACTFL</a:t>
            </a:r>
          </a:p>
        </p:txBody>
      </p:sp>
      <p:cxnSp>
        <p:nvCxnSpPr>
          <p:cNvPr id="31" name="Straight Arrow Connector 30"/>
          <p:cNvCxnSpPr>
            <a:endCxn id="26637" idx="1"/>
          </p:cNvCxnSpPr>
          <p:nvPr/>
        </p:nvCxnSpPr>
        <p:spPr>
          <a:xfrm flipV="1">
            <a:off x="4089400" y="5775325"/>
            <a:ext cx="1627188" cy="85725"/>
          </a:xfrm>
          <a:prstGeom prst="straightConnector1">
            <a:avLst/>
          </a:prstGeom>
          <a:ln w="254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5613"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DB8CD1B1-7A11-4A6A-B95C-9D70F0A495E4}" type="slidenum">
              <a:rPr lang="es-ES_tradnl" altLang="es-AR" sz="1000" i="1">
                <a:solidFill>
                  <a:srgbClr val="000000"/>
                </a:solidFill>
                <a:latin typeface="Verdana" panose="020B0604030504040204" pitchFamily="34" charset="0"/>
              </a:rPr>
              <a:pPr algn="r" eaLnBrk="1" hangingPunct="1">
                <a:spcBef>
                  <a:spcPct val="0"/>
                </a:spcBef>
                <a:buFontTx/>
                <a:buNone/>
              </a:pPr>
              <a:t>23</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15" descr="firma certuficado"/>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422400" y="1498600"/>
            <a:ext cx="4892675" cy="2836863"/>
          </a:xfrm>
          <a:prstGeom prst="rect">
            <a:avLst/>
          </a:prstGeom>
          <a:noFill/>
          <a:ln w="9525">
            <a:solidFill>
              <a:srgbClr val="002060"/>
            </a:solidFill>
            <a:miter lim="800000"/>
            <a:headEnd/>
            <a:tailEnd/>
          </a:ln>
          <a:extLst>
            <a:ext uri="{909E8E84-426E-40DD-AFC4-6F175D3DCCD1}">
              <a14:hiddenFill xmlns="" xmlns:a14="http://schemas.microsoft.com/office/drawing/2010/main">
                <a:solidFill>
                  <a:srgbClr val="FFFFFF"/>
                </a:solidFill>
              </a14:hiddenFill>
            </a:ext>
          </a:extLst>
        </p:spPr>
      </p:pic>
      <p:sp>
        <p:nvSpPr>
          <p:cNvPr id="27653" name="TextBox 7"/>
          <p:cNvSpPr txBox="1">
            <a:spLocks noChangeArrowheads="1"/>
          </p:cNvSpPr>
          <p:nvPr/>
        </p:nvSpPr>
        <p:spPr bwMode="auto">
          <a:xfrm>
            <a:off x="7251700" y="3025775"/>
            <a:ext cx="2333625" cy="1200150"/>
          </a:xfrm>
          <a:prstGeom prst="rect">
            <a:avLst/>
          </a:prstGeom>
          <a:solidFill>
            <a:schemeClr val="bg1"/>
          </a:solidFill>
          <a:ln w="9525">
            <a:solidFill>
              <a:srgbClr val="002060"/>
            </a:solidFill>
            <a:miter lim="800000"/>
            <a:headEnd/>
            <a:tailEnd/>
          </a:ln>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defRPr/>
            </a:pPr>
            <a:r>
              <a:rPr lang="es-AR" sz="1800" b="1" dirty="0">
                <a:latin typeface="+mn-lt"/>
              </a:rPr>
              <a:t>Firma y sello del Ministerio de Educación de la República Argentina</a:t>
            </a:r>
          </a:p>
        </p:txBody>
      </p:sp>
      <p:cxnSp>
        <p:nvCxnSpPr>
          <p:cNvPr id="10" name="Straight Arrow Connector 9"/>
          <p:cNvCxnSpPr/>
          <p:nvPr/>
        </p:nvCxnSpPr>
        <p:spPr>
          <a:xfrm>
            <a:off x="5691188" y="3516313"/>
            <a:ext cx="1592262" cy="125412"/>
          </a:xfrm>
          <a:prstGeom prst="straightConnector1">
            <a:avLst/>
          </a:prstGeom>
          <a:ln w="25400">
            <a:solidFill>
              <a:schemeClr val="tx2">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6629"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977F2F6B-1282-4979-BEA8-C218093C4592}" type="slidenum">
              <a:rPr lang="es-ES_tradnl" altLang="es-AR" sz="1000" i="1">
                <a:solidFill>
                  <a:srgbClr val="000000"/>
                </a:solidFill>
                <a:latin typeface="Verdana" panose="020B0604030504040204" pitchFamily="34" charset="0"/>
              </a:rPr>
              <a:pPr algn="r" eaLnBrk="1" hangingPunct="1">
                <a:spcBef>
                  <a:spcPct val="0"/>
                </a:spcBef>
                <a:buFontTx/>
                <a:buNone/>
              </a:pPr>
              <a:t>24</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2 Título"/>
          <p:cNvSpPr>
            <a:spLocks noGrp="1"/>
          </p:cNvSpPr>
          <p:nvPr>
            <p:ph type="title" idx="4294967295"/>
          </p:nvPr>
        </p:nvSpPr>
        <p:spPr>
          <a:xfrm>
            <a:off x="849313" y="146050"/>
            <a:ext cx="7639050" cy="1014413"/>
          </a:xfrm>
        </p:spPr>
        <p:txBody>
          <a:bodyPr/>
          <a:lstStyle/>
          <a:p>
            <a:pPr eaLnBrk="1" hangingPunct="1"/>
            <a:r>
              <a:rPr lang="es-ES" altLang="es-AR" sz="4000">
                <a:solidFill>
                  <a:srgbClr val="002060"/>
                </a:solidFill>
                <a:latin typeface="Calibri" panose="020F0502020204030204" pitchFamily="34" charset="0"/>
              </a:rPr>
              <a:t>Validez y reconocimiento</a:t>
            </a:r>
            <a:endParaRPr lang="es-AR" altLang="es-AR" sz="4000">
              <a:solidFill>
                <a:srgbClr val="002060"/>
              </a:solidFill>
              <a:latin typeface="Calibri" panose="020F0502020204030204" pitchFamily="34" charset="0"/>
            </a:endParaRPr>
          </a:p>
        </p:txBody>
      </p:sp>
      <p:sp>
        <p:nvSpPr>
          <p:cNvPr id="6" name="Content Placeholder 8"/>
          <p:cNvSpPr txBox="1">
            <a:spLocks/>
          </p:cNvSpPr>
          <p:nvPr/>
        </p:nvSpPr>
        <p:spPr bwMode="auto">
          <a:xfrm>
            <a:off x="265113" y="1108075"/>
            <a:ext cx="9347200" cy="5416550"/>
          </a:xfrm>
          <a:prstGeom prst="rect">
            <a:avLst/>
          </a:prstGeom>
          <a:solidFill>
            <a:schemeClr val="accent5">
              <a:lumMod val="40000"/>
              <a:lumOff val="60000"/>
            </a:schemeClr>
          </a:solidFill>
          <a:ln>
            <a:noFill/>
          </a:ln>
          <a:extLst/>
        </p:spPr>
        <p:txBody>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marL="457200" indent="-457200" algn="just" eaLnBrk="1" hangingPunct="1">
              <a:spcBef>
                <a:spcPct val="20000"/>
              </a:spcBef>
              <a:buClr>
                <a:srgbClr val="000066"/>
              </a:buClr>
              <a:buFont typeface="Wingdings" pitchFamily="2" charset="2"/>
              <a:buChar char="§"/>
              <a:defRPr/>
            </a:pPr>
            <a:r>
              <a:rPr lang="es-AR" sz="2800" dirty="0">
                <a:solidFill>
                  <a:srgbClr val="000066"/>
                </a:solidFill>
                <a:latin typeface="Calibri" pitchFamily="34" charset="0"/>
              </a:rPr>
              <a:t>Reconocido oficialmente por el Ministerio de Educación y el Ministerio de Relaciones Exteriores y Culto de la República Argentina.</a:t>
            </a:r>
          </a:p>
          <a:p>
            <a:pPr marL="171450" indent="-171450" algn="just" eaLnBrk="1" hangingPunct="1">
              <a:spcBef>
                <a:spcPct val="20000"/>
              </a:spcBef>
              <a:buClr>
                <a:srgbClr val="000066"/>
              </a:buClr>
              <a:buFont typeface="Wingdings" pitchFamily="2" charset="2"/>
              <a:buChar char="§"/>
              <a:defRPr/>
            </a:pPr>
            <a:endParaRPr lang="es-AR" sz="1200" dirty="0">
              <a:solidFill>
                <a:srgbClr val="000066"/>
              </a:solidFill>
              <a:latin typeface="Calibri" pitchFamily="34" charset="0"/>
            </a:endParaRPr>
          </a:p>
          <a:p>
            <a:pPr marL="457200" indent="-457200" algn="just" eaLnBrk="1" hangingPunct="1">
              <a:spcBef>
                <a:spcPct val="20000"/>
              </a:spcBef>
              <a:buClr>
                <a:srgbClr val="000066"/>
              </a:buClr>
              <a:buFont typeface="Wingdings" pitchFamily="2" charset="2"/>
              <a:buChar char="§"/>
              <a:defRPr/>
            </a:pPr>
            <a:r>
              <a:rPr lang="es-AR" sz="2800" dirty="0">
                <a:solidFill>
                  <a:srgbClr val="000066"/>
                </a:solidFill>
                <a:latin typeface="Calibri" pitchFamily="34" charset="0"/>
              </a:rPr>
              <a:t>Puede presentarse como comprobantes de competencia en lengua española ante entidades académicas e instituciones o empresas públicas y privadas.</a:t>
            </a:r>
          </a:p>
          <a:p>
            <a:pPr marL="171450" indent="-171450" algn="just" eaLnBrk="1" hangingPunct="1">
              <a:spcBef>
                <a:spcPct val="20000"/>
              </a:spcBef>
              <a:buClr>
                <a:srgbClr val="000066"/>
              </a:buClr>
              <a:buFont typeface="Wingdings" pitchFamily="2" charset="2"/>
              <a:buChar char="§"/>
              <a:defRPr/>
            </a:pPr>
            <a:endParaRPr lang="es-AR" sz="1200" dirty="0">
              <a:solidFill>
                <a:srgbClr val="000066"/>
              </a:solidFill>
              <a:latin typeface="Calibri" pitchFamily="34" charset="0"/>
            </a:endParaRPr>
          </a:p>
          <a:p>
            <a:pPr marL="457200" indent="-457200" algn="just" eaLnBrk="1" hangingPunct="1">
              <a:spcBef>
                <a:spcPct val="20000"/>
              </a:spcBef>
              <a:buClr>
                <a:srgbClr val="000066"/>
              </a:buClr>
              <a:buFont typeface="Wingdings" pitchFamily="2" charset="2"/>
              <a:buChar char="§"/>
              <a:defRPr/>
            </a:pPr>
            <a:r>
              <a:rPr lang="es-AR" sz="2800" dirty="0">
                <a:solidFill>
                  <a:srgbClr val="000066"/>
                </a:solidFill>
                <a:latin typeface="Calibri" pitchFamily="34" charset="0"/>
              </a:rPr>
              <a:t>Se agrega una descripción de los dos niveles de uso de la lengua y su correlación con niveles reconocidos en otros países (MCER y ACTFL)</a:t>
            </a:r>
          </a:p>
          <a:p>
            <a:pPr marL="457200" indent="-457200" algn="just" eaLnBrk="1" hangingPunct="1">
              <a:spcBef>
                <a:spcPct val="20000"/>
              </a:spcBef>
              <a:buClr>
                <a:srgbClr val="000066"/>
              </a:buClr>
              <a:buFont typeface="Wingdings" pitchFamily="2" charset="2"/>
              <a:buChar char="§"/>
              <a:defRPr/>
            </a:pPr>
            <a:endParaRPr lang="es-AR" sz="1200" dirty="0">
              <a:solidFill>
                <a:srgbClr val="000066"/>
              </a:solidFill>
              <a:latin typeface="Calibri" pitchFamily="34" charset="0"/>
            </a:endParaRPr>
          </a:p>
          <a:p>
            <a:pPr marL="457200" indent="-457200" algn="just" eaLnBrk="1" hangingPunct="1">
              <a:spcBef>
                <a:spcPct val="20000"/>
              </a:spcBef>
              <a:buClr>
                <a:srgbClr val="000066"/>
              </a:buClr>
              <a:buFont typeface="Wingdings" pitchFamily="2" charset="2"/>
              <a:buChar char="§"/>
              <a:defRPr/>
            </a:pPr>
            <a:r>
              <a:rPr lang="es-AR" sz="2800" dirty="0">
                <a:solidFill>
                  <a:srgbClr val="000066"/>
                </a:solidFill>
                <a:latin typeface="Calibri" pitchFamily="34" charset="0"/>
              </a:rPr>
              <a:t>NO tiene fecha de vencimiento</a:t>
            </a:r>
          </a:p>
          <a:p>
            <a:pPr algn="ctr" eaLnBrk="1" hangingPunct="1">
              <a:spcBef>
                <a:spcPct val="20000"/>
              </a:spcBef>
              <a:buFont typeface="Wingdings" pitchFamily="2" charset="2"/>
              <a:buNone/>
              <a:defRPr/>
            </a:pPr>
            <a:endParaRPr lang="es-AR" sz="2800" dirty="0">
              <a:solidFill>
                <a:srgbClr val="898989"/>
              </a:solidFill>
              <a:latin typeface="Calibri" pitchFamily="34" charset="0"/>
            </a:endParaRPr>
          </a:p>
        </p:txBody>
      </p:sp>
      <p:sp>
        <p:nvSpPr>
          <p:cNvPr id="27652"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AFD02FF1-FB7D-4E8A-8933-52A1833D08F7}" type="slidenum">
              <a:rPr lang="es-ES_tradnl" altLang="es-AR" sz="1000" i="1">
                <a:solidFill>
                  <a:srgbClr val="000000"/>
                </a:solidFill>
                <a:latin typeface="Verdana" panose="020B0604030504040204" pitchFamily="34" charset="0"/>
              </a:rPr>
              <a:pPr algn="r" eaLnBrk="1" hangingPunct="1">
                <a:spcBef>
                  <a:spcPct val="0"/>
                </a:spcBef>
                <a:buFontTx/>
                <a:buNone/>
              </a:pPr>
              <a:t>25</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3"/>
          <p:cNvSpPr>
            <a:spLocks noGrp="1"/>
          </p:cNvSpPr>
          <p:nvPr>
            <p:ph type="title" idx="4294967295"/>
          </p:nvPr>
        </p:nvSpPr>
        <p:spPr>
          <a:xfrm>
            <a:off x="1163638" y="4049713"/>
            <a:ext cx="8420100" cy="2206625"/>
          </a:xfrm>
        </p:spPr>
        <p:txBody>
          <a:bodyPr/>
          <a:lstStyle/>
          <a:p>
            <a:pPr algn="r" eaLnBrk="1" hangingPunct="1"/>
            <a:r>
              <a:rPr lang="es-AR" altLang="es-AR" sz="2800">
                <a:solidFill>
                  <a:srgbClr val="000066"/>
                </a:solidFill>
                <a:latin typeface="Calibri" panose="020F0502020204030204" pitchFamily="34" charset="0"/>
              </a:rPr>
              <a:t>Miembros del consorcio ELSE</a:t>
            </a:r>
            <a:br>
              <a:rPr lang="es-AR" altLang="es-AR" sz="2800">
                <a:solidFill>
                  <a:srgbClr val="000066"/>
                </a:solidFill>
                <a:latin typeface="Calibri" panose="020F0502020204030204" pitchFamily="34" charset="0"/>
              </a:rPr>
            </a:br>
            <a:r>
              <a:rPr lang="es-AR" altLang="es-AR" sz="2800">
                <a:solidFill>
                  <a:srgbClr val="000066"/>
                </a:solidFill>
                <a:latin typeface="Calibri" panose="020F0502020204030204" pitchFamily="34" charset="0"/>
              </a:rPr>
              <a:t>Sedes del examen</a:t>
            </a:r>
            <a:br>
              <a:rPr lang="es-AR" altLang="es-AR" sz="2800">
                <a:solidFill>
                  <a:srgbClr val="000066"/>
                </a:solidFill>
                <a:latin typeface="Calibri" panose="020F0502020204030204" pitchFamily="34" charset="0"/>
              </a:rPr>
            </a:br>
            <a:r>
              <a:rPr lang="es-AR" altLang="es-AR" sz="2800">
                <a:solidFill>
                  <a:srgbClr val="000066"/>
                </a:solidFill>
                <a:latin typeface="Calibri" panose="020F0502020204030204" pitchFamily="34" charset="0"/>
              </a:rPr>
              <a:t>Requisitos de los candidatos</a:t>
            </a:r>
            <a:br>
              <a:rPr lang="es-AR" altLang="es-AR" sz="2800">
                <a:solidFill>
                  <a:srgbClr val="000066"/>
                </a:solidFill>
                <a:latin typeface="Calibri" panose="020F0502020204030204" pitchFamily="34" charset="0"/>
              </a:rPr>
            </a:br>
            <a:r>
              <a:rPr lang="es-AR" altLang="es-AR" sz="2800">
                <a:solidFill>
                  <a:srgbClr val="000066"/>
                </a:solidFill>
                <a:latin typeface="Calibri" panose="020F0502020204030204" pitchFamily="34" charset="0"/>
              </a:rPr>
              <a:t>Inscripción y pagos</a:t>
            </a:r>
          </a:p>
        </p:txBody>
      </p:sp>
      <p:sp>
        <p:nvSpPr>
          <p:cNvPr id="28675" name="Text Placeholder 4"/>
          <p:cNvSpPr>
            <a:spLocks noGrp="1"/>
          </p:cNvSpPr>
          <p:nvPr>
            <p:ph type="body" idx="4294967295"/>
          </p:nvPr>
        </p:nvSpPr>
        <p:spPr>
          <a:xfrm>
            <a:off x="1163638" y="2801938"/>
            <a:ext cx="8420100" cy="1500187"/>
          </a:xfrm>
        </p:spPr>
        <p:txBody>
          <a:bodyPr/>
          <a:lstStyle/>
          <a:p>
            <a:pPr marL="0" indent="0" algn="r" eaLnBrk="1" hangingPunct="1">
              <a:buFont typeface="Arial" panose="020B0604020202020204" pitchFamily="34" charset="0"/>
              <a:buNone/>
            </a:pPr>
            <a:r>
              <a:rPr lang="es-AR" altLang="es-AR" sz="4800" b="1">
                <a:solidFill>
                  <a:srgbClr val="000066"/>
                </a:solidFill>
              </a:rPr>
              <a:t>La aplicación del examen</a:t>
            </a:r>
          </a:p>
        </p:txBody>
      </p:sp>
      <p:sp>
        <p:nvSpPr>
          <p:cNvPr id="28676"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32F5E122-B985-4C31-AA1B-C332FB9D0CDE}" type="slidenum">
              <a:rPr lang="es-ES_tradnl" altLang="es-AR" sz="1000" i="1">
                <a:solidFill>
                  <a:srgbClr val="000000"/>
                </a:solidFill>
                <a:latin typeface="Verdana" panose="020B0604030504040204" pitchFamily="34" charset="0"/>
              </a:rPr>
              <a:pPr algn="r" eaLnBrk="1" hangingPunct="1">
                <a:spcBef>
                  <a:spcPct val="0"/>
                </a:spcBef>
                <a:buFontTx/>
                <a:buNone/>
              </a:pPr>
              <a:t>26</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2 Título"/>
          <p:cNvSpPr>
            <a:spLocks noGrp="1"/>
          </p:cNvSpPr>
          <p:nvPr>
            <p:ph type="title" idx="4294967295"/>
          </p:nvPr>
        </p:nvSpPr>
        <p:spPr>
          <a:xfrm>
            <a:off x="-119063" y="180975"/>
            <a:ext cx="8915401" cy="1143000"/>
          </a:xfrm>
        </p:spPr>
        <p:txBody>
          <a:bodyPr/>
          <a:lstStyle/>
          <a:p>
            <a:pPr algn="l" eaLnBrk="1" hangingPunct="1">
              <a:defRPr/>
            </a:pPr>
            <a:r>
              <a:rPr lang="es-ES_tradnl" sz="4000" dirty="0">
                <a:solidFill>
                  <a:srgbClr val="003399"/>
                </a:solidFill>
                <a:latin typeface="+mn-lt"/>
              </a:rPr>
              <a:t>   </a:t>
            </a:r>
            <a:br>
              <a:rPr lang="es-ES_tradnl" sz="4000" dirty="0">
                <a:solidFill>
                  <a:srgbClr val="003399"/>
                </a:solidFill>
                <a:latin typeface="+mn-lt"/>
              </a:rPr>
            </a:br>
            <a:r>
              <a:rPr lang="es-ES_tradnl" sz="4000" dirty="0">
                <a:solidFill>
                  <a:srgbClr val="003399"/>
                </a:solidFill>
                <a:latin typeface="+mn-lt"/>
              </a:rPr>
              <a:t>   </a:t>
            </a:r>
            <a:r>
              <a:rPr lang="es-ES_tradnl" sz="4000" dirty="0">
                <a:solidFill>
                  <a:srgbClr val="000066"/>
                </a:solidFill>
                <a:latin typeface="+mn-lt"/>
              </a:rPr>
              <a:t>¿Quiénes participan?</a:t>
            </a:r>
            <a:br>
              <a:rPr lang="es-ES_tradnl" sz="4000" dirty="0">
                <a:solidFill>
                  <a:srgbClr val="000066"/>
                </a:solidFill>
                <a:latin typeface="+mn-lt"/>
              </a:rPr>
            </a:br>
            <a:endParaRPr lang="es-AR" sz="4000" dirty="0">
              <a:solidFill>
                <a:srgbClr val="000066"/>
              </a:solidFill>
              <a:latin typeface="+mn-lt"/>
            </a:endParaRPr>
          </a:p>
        </p:txBody>
      </p:sp>
      <p:pic>
        <p:nvPicPr>
          <p:cNvPr id="29699" name="4 Imagen"/>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5508625" y="166688"/>
            <a:ext cx="4294188" cy="1246187"/>
          </a:xfrm>
          <a:prstGeom prst="rect">
            <a:avLst/>
          </a:prstGeom>
          <a:solidFill>
            <a:schemeClr val="bg1"/>
          </a:solidFill>
          <a:ln w="9525">
            <a:solidFill>
              <a:srgbClr val="002060"/>
            </a:solidFill>
            <a:miter lim="800000"/>
            <a:headEnd/>
            <a:tailEnd/>
          </a:ln>
        </p:spPr>
      </p:pic>
      <p:sp>
        <p:nvSpPr>
          <p:cNvPr id="27654" name="Rectangle 6"/>
          <p:cNvSpPr>
            <a:spLocks noChangeArrowheads="1"/>
          </p:cNvSpPr>
          <p:nvPr/>
        </p:nvSpPr>
        <p:spPr bwMode="auto">
          <a:xfrm>
            <a:off x="180304" y="1635617"/>
            <a:ext cx="9556123" cy="4958365"/>
          </a:xfrm>
          <a:prstGeom prst="rect">
            <a:avLst/>
          </a:prstGeom>
          <a:solidFill>
            <a:schemeClr val="accent1">
              <a:lumMod val="20000"/>
              <a:lumOff val="80000"/>
            </a:schemeClr>
          </a:solidFill>
          <a:ln w="9525">
            <a:noFill/>
            <a:miter lim="800000"/>
            <a:headEnd/>
            <a:tailEnd/>
          </a:ln>
          <a:effectLst/>
        </p:spPr>
        <p:txBody>
          <a:bodyPr numCol="2" anchor="ctr">
            <a:spAutoFit/>
          </a:bodyPr>
          <a:lstStyle/>
          <a:p>
            <a:pPr algn="just" eaLnBrk="0" hangingPunct="0">
              <a:buFontTx/>
              <a:buAutoNum type="arabicPeriod"/>
              <a:defRPr/>
            </a:pPr>
            <a:endParaRPr lang="es-AR"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de Buenos Aires</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Catamarc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l Centro de la Provincia  de Buenos Aires</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a:t>
            </a:r>
            <a:r>
              <a:rPr lang="es-AR" sz="1400" dirty="0" err="1">
                <a:ea typeface="Times New Roman" pitchFamily="18" charset="0"/>
              </a:rPr>
              <a:t>Comahue</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Córdob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Cuyo</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Entre Ríos</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General San Martín</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General Sarmiento</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Jujuy</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La Matanz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La Pamp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la Patagonia Austral</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la Patagonia San Juan Bosco</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La Plat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La Rioj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Lanús</a:t>
            </a:r>
          </a:p>
          <a:p>
            <a:pPr marL="360363" indent="-360363" eaLnBrk="0" hangingPunct="0">
              <a:buFontTx/>
              <a:buAutoNum type="arabicPeriod"/>
              <a:defRPr/>
            </a:pPr>
            <a:endParaRPr lang="es-AR" sz="1400" dirty="0">
              <a:ea typeface="Times New Roman" pitchFamily="18" charset="0"/>
            </a:endParaRPr>
          </a:p>
          <a:p>
            <a:pPr eaLnBrk="0" hangingPunct="0">
              <a:buFontTx/>
              <a:buAutoNum type="arabicPeriod"/>
              <a:defRPr/>
            </a:pPr>
            <a:endParaRPr lang="es-ES" sz="1400" dirty="0">
              <a:ea typeface="Times New Roman" pitchFamily="18" charset="0"/>
            </a:endParaRPr>
          </a:p>
          <a:p>
            <a:pPr eaLnBrk="0" hangingPunct="0">
              <a:buFontTx/>
              <a:buAutoNum type="arabicPeriod"/>
              <a:defRPr/>
            </a:pPr>
            <a:endParaRPr lang="es-AR"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l Litoral</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Lomas de Zamor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Mar del Plat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Misiones</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Moreno</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l Nordeste</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l Noroeste de       Buenos Aires</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Quilmes</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Río Cuarto</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Río Negro</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Salt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San Juan</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San Luis</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l Sur</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Tres de Febrero</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Tucumán</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de Villa María</a:t>
            </a:r>
            <a:endParaRPr lang="es-ES" sz="1400" dirty="0">
              <a:ea typeface="Times New Roman" pitchFamily="18" charset="0"/>
            </a:endParaRPr>
          </a:p>
          <a:p>
            <a:pPr marL="360363" indent="-360363" eaLnBrk="0" hangingPunct="0">
              <a:buFontTx/>
              <a:buAutoNum type="arabicPeriod"/>
              <a:defRPr/>
            </a:pPr>
            <a:r>
              <a:rPr lang="es-AR" sz="1400" dirty="0">
                <a:ea typeface="Times New Roman" pitchFamily="18" charset="0"/>
              </a:rPr>
              <a:t>Universidad Nacional Arturo </a:t>
            </a:r>
            <a:r>
              <a:rPr lang="es-AR" sz="1400" dirty="0" err="1">
                <a:ea typeface="Times New Roman" pitchFamily="18" charset="0"/>
              </a:rPr>
              <a:t>Jauretche</a:t>
            </a:r>
            <a:endParaRPr lang="es-AR" sz="1400" dirty="0"/>
          </a:p>
          <a:p>
            <a:pPr eaLnBrk="0" hangingPunct="0">
              <a:defRPr/>
            </a:pPr>
            <a:endParaRPr lang="es-AR" dirty="0"/>
          </a:p>
        </p:txBody>
      </p:sp>
      <p:sp>
        <p:nvSpPr>
          <p:cNvPr id="29701"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91F85215-5750-4EE9-A95B-4A743192A427}" type="slidenum">
              <a:rPr lang="es-ES_tradnl" altLang="es-AR" sz="1000" i="1">
                <a:solidFill>
                  <a:srgbClr val="000000"/>
                </a:solidFill>
                <a:latin typeface="Verdana" panose="020B0604030504040204" pitchFamily="34" charset="0"/>
              </a:rPr>
              <a:pPr algn="r" eaLnBrk="1" hangingPunct="1">
                <a:spcBef>
                  <a:spcPct val="0"/>
                </a:spcBef>
                <a:buFontTx/>
                <a:buNone/>
              </a:pPr>
              <a:t>27</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13"/>
          <p:cNvSpPr/>
          <p:nvPr/>
        </p:nvSpPr>
        <p:spPr bwMode="auto">
          <a:xfrm>
            <a:off x="3827463" y="1603375"/>
            <a:ext cx="735012" cy="711200"/>
          </a:xfrm>
          <a:custGeom>
            <a:avLst/>
            <a:gdLst>
              <a:gd name="connsiteX0" fmla="*/ 187287 w 597665"/>
              <a:gd name="connsiteY0" fmla="*/ 0 h 578386"/>
              <a:gd name="connsiteX1" fmla="*/ 143219 w 597665"/>
              <a:gd name="connsiteY1" fmla="*/ 96398 h 578386"/>
              <a:gd name="connsiteX2" fmla="*/ 68855 w 597665"/>
              <a:gd name="connsiteY2" fmla="*/ 134957 h 578386"/>
              <a:gd name="connsiteX3" fmla="*/ 24788 w 597665"/>
              <a:gd name="connsiteY3" fmla="*/ 190041 h 578386"/>
              <a:gd name="connsiteX4" fmla="*/ 13771 w 597665"/>
              <a:gd name="connsiteY4" fmla="*/ 242371 h 578386"/>
              <a:gd name="connsiteX5" fmla="*/ 57839 w 597665"/>
              <a:gd name="connsiteY5" fmla="*/ 294701 h 578386"/>
              <a:gd name="connsiteX6" fmla="*/ 0 w 597665"/>
              <a:gd name="connsiteY6" fmla="*/ 432412 h 578386"/>
              <a:gd name="connsiteX7" fmla="*/ 55084 w 597665"/>
              <a:gd name="connsiteY7" fmla="*/ 435167 h 578386"/>
              <a:gd name="connsiteX8" fmla="*/ 137711 w 597665"/>
              <a:gd name="connsiteY8" fmla="*/ 512285 h 578386"/>
              <a:gd name="connsiteX9" fmla="*/ 168007 w 597665"/>
              <a:gd name="connsiteY9" fmla="*/ 504022 h 578386"/>
              <a:gd name="connsiteX10" fmla="*/ 181778 w 597665"/>
              <a:gd name="connsiteY10" fmla="*/ 402116 h 578386"/>
              <a:gd name="connsiteX11" fmla="*/ 176270 w 597665"/>
              <a:gd name="connsiteY11" fmla="*/ 360803 h 578386"/>
              <a:gd name="connsiteX12" fmla="*/ 203812 w 597665"/>
              <a:gd name="connsiteY12" fmla="*/ 330506 h 578386"/>
              <a:gd name="connsiteX13" fmla="*/ 256142 w 597665"/>
              <a:gd name="connsiteY13" fmla="*/ 399362 h 578386"/>
              <a:gd name="connsiteX14" fmla="*/ 225846 w 597665"/>
              <a:gd name="connsiteY14" fmla="*/ 446183 h 578386"/>
              <a:gd name="connsiteX15" fmla="*/ 286439 w 597665"/>
              <a:gd name="connsiteY15" fmla="*/ 470971 h 578386"/>
              <a:gd name="connsiteX16" fmla="*/ 308472 w 597665"/>
              <a:gd name="connsiteY16" fmla="*/ 537073 h 578386"/>
              <a:gd name="connsiteX17" fmla="*/ 377328 w 597665"/>
              <a:gd name="connsiteY17" fmla="*/ 542581 h 578386"/>
              <a:gd name="connsiteX18" fmla="*/ 465463 w 597665"/>
              <a:gd name="connsiteY18" fmla="*/ 578386 h 578386"/>
              <a:gd name="connsiteX19" fmla="*/ 465463 w 597665"/>
              <a:gd name="connsiteY19" fmla="*/ 578386 h 578386"/>
              <a:gd name="connsiteX20" fmla="*/ 504022 w 597665"/>
              <a:gd name="connsiteY20" fmla="*/ 572877 h 578386"/>
              <a:gd name="connsiteX21" fmla="*/ 561860 w 597665"/>
              <a:gd name="connsiteY21" fmla="*/ 531564 h 578386"/>
              <a:gd name="connsiteX22" fmla="*/ 597665 w 597665"/>
              <a:gd name="connsiteY22" fmla="*/ 457200 h 578386"/>
              <a:gd name="connsiteX23" fmla="*/ 592157 w 597665"/>
              <a:gd name="connsiteY23" fmla="*/ 410379 h 578386"/>
              <a:gd name="connsiteX24" fmla="*/ 578385 w 597665"/>
              <a:gd name="connsiteY24" fmla="*/ 338769 h 578386"/>
              <a:gd name="connsiteX25" fmla="*/ 526055 w 597665"/>
              <a:gd name="connsiteY25" fmla="*/ 360803 h 578386"/>
              <a:gd name="connsiteX26" fmla="*/ 495759 w 597665"/>
              <a:gd name="connsiteY26" fmla="*/ 336015 h 578386"/>
              <a:gd name="connsiteX27" fmla="*/ 443429 w 597665"/>
              <a:gd name="connsiteY27" fmla="*/ 363557 h 578386"/>
              <a:gd name="connsiteX28" fmla="*/ 413132 w 597665"/>
              <a:gd name="connsiteY28" fmla="*/ 256142 h 578386"/>
              <a:gd name="connsiteX29" fmla="*/ 363557 w 597665"/>
              <a:gd name="connsiteY29" fmla="*/ 239617 h 578386"/>
              <a:gd name="connsiteX30" fmla="*/ 363557 w 597665"/>
              <a:gd name="connsiteY30" fmla="*/ 154236 h 578386"/>
              <a:gd name="connsiteX31" fmla="*/ 380082 w 597665"/>
              <a:gd name="connsiteY31" fmla="*/ 85381 h 578386"/>
              <a:gd name="connsiteX32" fmla="*/ 324998 w 597665"/>
              <a:gd name="connsiteY32" fmla="*/ 85381 h 578386"/>
              <a:gd name="connsiteX33" fmla="*/ 278176 w 597665"/>
              <a:gd name="connsiteY33" fmla="*/ 60593 h 578386"/>
              <a:gd name="connsiteX34" fmla="*/ 225846 w 597665"/>
              <a:gd name="connsiteY34" fmla="*/ 68856 h 578386"/>
              <a:gd name="connsiteX35" fmla="*/ 187287 w 597665"/>
              <a:gd name="connsiteY35" fmla="*/ 0 h 5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97665" h="578386">
                <a:moveTo>
                  <a:pt x="187287" y="0"/>
                </a:moveTo>
                <a:lnTo>
                  <a:pt x="143219" y="96398"/>
                </a:lnTo>
                <a:lnTo>
                  <a:pt x="68855" y="134957"/>
                </a:lnTo>
                <a:lnTo>
                  <a:pt x="24788" y="190041"/>
                </a:lnTo>
                <a:lnTo>
                  <a:pt x="13771" y="242371"/>
                </a:lnTo>
                <a:lnTo>
                  <a:pt x="57839" y="294701"/>
                </a:lnTo>
                <a:lnTo>
                  <a:pt x="0" y="432412"/>
                </a:lnTo>
                <a:lnTo>
                  <a:pt x="55084" y="435167"/>
                </a:lnTo>
                <a:lnTo>
                  <a:pt x="137711" y="512285"/>
                </a:lnTo>
                <a:lnTo>
                  <a:pt x="168007" y="504022"/>
                </a:lnTo>
                <a:lnTo>
                  <a:pt x="181778" y="402116"/>
                </a:lnTo>
                <a:lnTo>
                  <a:pt x="176270" y="360803"/>
                </a:lnTo>
                <a:lnTo>
                  <a:pt x="203812" y="330506"/>
                </a:lnTo>
                <a:lnTo>
                  <a:pt x="256142" y="399362"/>
                </a:lnTo>
                <a:lnTo>
                  <a:pt x="225846" y="446183"/>
                </a:lnTo>
                <a:lnTo>
                  <a:pt x="286439" y="470971"/>
                </a:lnTo>
                <a:lnTo>
                  <a:pt x="308472" y="537073"/>
                </a:lnTo>
                <a:lnTo>
                  <a:pt x="377328" y="542581"/>
                </a:lnTo>
                <a:lnTo>
                  <a:pt x="465463" y="578386"/>
                </a:lnTo>
                <a:lnTo>
                  <a:pt x="465463" y="578386"/>
                </a:lnTo>
                <a:lnTo>
                  <a:pt x="504022" y="572877"/>
                </a:lnTo>
                <a:lnTo>
                  <a:pt x="561860" y="531564"/>
                </a:lnTo>
                <a:lnTo>
                  <a:pt x="597665" y="457200"/>
                </a:lnTo>
                <a:lnTo>
                  <a:pt x="592157" y="410379"/>
                </a:lnTo>
                <a:lnTo>
                  <a:pt x="578385" y="338769"/>
                </a:lnTo>
                <a:lnTo>
                  <a:pt x="526055" y="360803"/>
                </a:lnTo>
                <a:lnTo>
                  <a:pt x="495759" y="336015"/>
                </a:lnTo>
                <a:lnTo>
                  <a:pt x="443429" y="363557"/>
                </a:lnTo>
                <a:lnTo>
                  <a:pt x="413132" y="256142"/>
                </a:lnTo>
                <a:lnTo>
                  <a:pt x="363557" y="239617"/>
                </a:lnTo>
                <a:lnTo>
                  <a:pt x="363557" y="154236"/>
                </a:lnTo>
                <a:lnTo>
                  <a:pt x="380082" y="85381"/>
                </a:lnTo>
                <a:lnTo>
                  <a:pt x="324998" y="85381"/>
                </a:lnTo>
                <a:lnTo>
                  <a:pt x="278176" y="60593"/>
                </a:lnTo>
                <a:lnTo>
                  <a:pt x="225846" y="68856"/>
                </a:lnTo>
                <a:lnTo>
                  <a:pt x="187287"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44" name="Freeform 15"/>
          <p:cNvSpPr/>
          <p:nvPr/>
        </p:nvSpPr>
        <p:spPr bwMode="auto">
          <a:xfrm>
            <a:off x="3529013" y="1676400"/>
            <a:ext cx="1425575" cy="1062038"/>
          </a:xfrm>
          <a:custGeom>
            <a:avLst/>
            <a:gdLst>
              <a:gd name="connsiteX0" fmla="*/ 619699 w 1159525"/>
              <a:gd name="connsiteY0" fmla="*/ 35805 h 864824"/>
              <a:gd name="connsiteX1" fmla="*/ 696817 w 1159525"/>
              <a:gd name="connsiteY1" fmla="*/ 27542 h 864824"/>
              <a:gd name="connsiteX2" fmla="*/ 782197 w 1159525"/>
              <a:gd name="connsiteY2" fmla="*/ 132202 h 864824"/>
              <a:gd name="connsiteX3" fmla="*/ 840036 w 1159525"/>
              <a:gd name="connsiteY3" fmla="*/ 68855 h 864824"/>
              <a:gd name="connsiteX4" fmla="*/ 820756 w 1159525"/>
              <a:gd name="connsiteY4" fmla="*/ 30296 h 864824"/>
              <a:gd name="connsiteX5" fmla="*/ 867578 w 1159525"/>
              <a:gd name="connsiteY5" fmla="*/ 0 h 864824"/>
              <a:gd name="connsiteX6" fmla="*/ 922663 w 1159525"/>
              <a:gd name="connsiteY6" fmla="*/ 41313 h 864824"/>
              <a:gd name="connsiteX7" fmla="*/ 977747 w 1159525"/>
              <a:gd name="connsiteY7" fmla="*/ 13771 h 864824"/>
              <a:gd name="connsiteX8" fmla="*/ 1096178 w 1159525"/>
              <a:gd name="connsiteY8" fmla="*/ 24788 h 864824"/>
              <a:gd name="connsiteX9" fmla="*/ 1154017 w 1159525"/>
              <a:gd name="connsiteY9" fmla="*/ 118431 h 864824"/>
              <a:gd name="connsiteX10" fmla="*/ 1159525 w 1159525"/>
              <a:gd name="connsiteY10" fmla="*/ 479234 h 864824"/>
              <a:gd name="connsiteX11" fmla="*/ 969484 w 1159525"/>
              <a:gd name="connsiteY11" fmla="*/ 732622 h 864824"/>
              <a:gd name="connsiteX12" fmla="*/ 815248 w 1159525"/>
              <a:gd name="connsiteY12" fmla="*/ 746393 h 864824"/>
              <a:gd name="connsiteX13" fmla="*/ 760164 w 1159525"/>
              <a:gd name="connsiteY13" fmla="*/ 862070 h 864824"/>
              <a:gd name="connsiteX14" fmla="*/ 655503 w 1159525"/>
              <a:gd name="connsiteY14" fmla="*/ 845544 h 864824"/>
              <a:gd name="connsiteX15" fmla="*/ 608682 w 1159525"/>
              <a:gd name="connsiteY15" fmla="*/ 801477 h 864824"/>
              <a:gd name="connsiteX16" fmla="*/ 553597 w 1159525"/>
              <a:gd name="connsiteY16" fmla="*/ 829019 h 864824"/>
              <a:gd name="connsiteX17" fmla="*/ 548089 w 1159525"/>
              <a:gd name="connsiteY17" fmla="*/ 864824 h 864824"/>
              <a:gd name="connsiteX18" fmla="*/ 465463 w 1159525"/>
              <a:gd name="connsiteY18" fmla="*/ 831773 h 864824"/>
              <a:gd name="connsiteX19" fmla="*/ 413132 w 1159525"/>
              <a:gd name="connsiteY19" fmla="*/ 864824 h 864824"/>
              <a:gd name="connsiteX20" fmla="*/ 347031 w 1159525"/>
              <a:gd name="connsiteY20" fmla="*/ 754655 h 864824"/>
              <a:gd name="connsiteX21" fmla="*/ 393853 w 1159525"/>
              <a:gd name="connsiteY21" fmla="*/ 718850 h 864824"/>
              <a:gd name="connsiteX22" fmla="*/ 388344 w 1159525"/>
              <a:gd name="connsiteY22" fmla="*/ 641732 h 864824"/>
              <a:gd name="connsiteX23" fmla="*/ 209320 w 1159525"/>
              <a:gd name="connsiteY23" fmla="*/ 644487 h 864824"/>
              <a:gd name="connsiteX24" fmla="*/ 181778 w 1159525"/>
              <a:gd name="connsiteY24" fmla="*/ 672029 h 864824"/>
              <a:gd name="connsiteX25" fmla="*/ 41313 w 1159525"/>
              <a:gd name="connsiteY25" fmla="*/ 614190 h 864824"/>
              <a:gd name="connsiteX26" fmla="*/ 0 w 1159525"/>
              <a:gd name="connsiteY26" fmla="*/ 575631 h 864824"/>
              <a:gd name="connsiteX27" fmla="*/ 49576 w 1159525"/>
              <a:gd name="connsiteY27" fmla="*/ 501267 h 864824"/>
              <a:gd name="connsiteX28" fmla="*/ 234108 w 1159525"/>
              <a:gd name="connsiteY28" fmla="*/ 429658 h 864824"/>
              <a:gd name="connsiteX29" fmla="*/ 242371 w 1159525"/>
              <a:gd name="connsiteY29" fmla="*/ 371819 h 864824"/>
              <a:gd name="connsiteX30" fmla="*/ 297455 w 1159525"/>
              <a:gd name="connsiteY30" fmla="*/ 374573 h 864824"/>
              <a:gd name="connsiteX31" fmla="*/ 382836 w 1159525"/>
              <a:gd name="connsiteY31" fmla="*/ 459954 h 864824"/>
              <a:gd name="connsiteX32" fmla="*/ 410378 w 1159525"/>
              <a:gd name="connsiteY32" fmla="*/ 454446 h 864824"/>
              <a:gd name="connsiteX33" fmla="*/ 421395 w 1159525"/>
              <a:gd name="connsiteY33" fmla="*/ 305718 h 864824"/>
              <a:gd name="connsiteX34" fmla="*/ 446183 w 1159525"/>
              <a:gd name="connsiteY34" fmla="*/ 269913 h 864824"/>
              <a:gd name="connsiteX35" fmla="*/ 493005 w 1159525"/>
              <a:gd name="connsiteY35" fmla="*/ 327752 h 864824"/>
              <a:gd name="connsiteX36" fmla="*/ 468217 w 1159525"/>
              <a:gd name="connsiteY36" fmla="*/ 391099 h 864824"/>
              <a:gd name="connsiteX37" fmla="*/ 523301 w 1159525"/>
              <a:gd name="connsiteY37" fmla="*/ 418641 h 864824"/>
              <a:gd name="connsiteX38" fmla="*/ 553597 w 1159525"/>
              <a:gd name="connsiteY38" fmla="*/ 479234 h 864824"/>
              <a:gd name="connsiteX39" fmla="*/ 616944 w 1159525"/>
              <a:gd name="connsiteY39" fmla="*/ 481988 h 864824"/>
              <a:gd name="connsiteX40" fmla="*/ 716096 w 1159525"/>
              <a:gd name="connsiteY40" fmla="*/ 520547 h 864824"/>
              <a:gd name="connsiteX41" fmla="*/ 782197 w 1159525"/>
              <a:gd name="connsiteY41" fmla="*/ 481988 h 864824"/>
              <a:gd name="connsiteX42" fmla="*/ 840036 w 1159525"/>
              <a:gd name="connsiteY42" fmla="*/ 385590 h 864824"/>
              <a:gd name="connsiteX43" fmla="*/ 818002 w 1159525"/>
              <a:gd name="connsiteY43" fmla="*/ 275422 h 864824"/>
              <a:gd name="connsiteX44" fmla="*/ 784952 w 1159525"/>
              <a:gd name="connsiteY44" fmla="*/ 308472 h 864824"/>
              <a:gd name="connsiteX45" fmla="*/ 732622 w 1159525"/>
              <a:gd name="connsiteY45" fmla="*/ 272667 h 864824"/>
              <a:gd name="connsiteX46" fmla="*/ 677537 w 1159525"/>
              <a:gd name="connsiteY46" fmla="*/ 302964 h 864824"/>
              <a:gd name="connsiteX47" fmla="*/ 652749 w 1159525"/>
              <a:gd name="connsiteY47" fmla="*/ 198303 h 864824"/>
              <a:gd name="connsiteX48" fmla="*/ 597665 w 1159525"/>
              <a:gd name="connsiteY48" fmla="*/ 184532 h 864824"/>
              <a:gd name="connsiteX49" fmla="*/ 619699 w 1159525"/>
              <a:gd name="connsiteY49" fmla="*/ 35805 h 86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59525" h="864824">
                <a:moveTo>
                  <a:pt x="619699" y="35805"/>
                </a:moveTo>
                <a:lnTo>
                  <a:pt x="696817" y="27542"/>
                </a:lnTo>
                <a:lnTo>
                  <a:pt x="782197" y="132202"/>
                </a:lnTo>
                <a:lnTo>
                  <a:pt x="840036" y="68855"/>
                </a:lnTo>
                <a:lnTo>
                  <a:pt x="820756" y="30296"/>
                </a:lnTo>
                <a:lnTo>
                  <a:pt x="867578" y="0"/>
                </a:lnTo>
                <a:lnTo>
                  <a:pt x="922663" y="41313"/>
                </a:lnTo>
                <a:lnTo>
                  <a:pt x="977747" y="13771"/>
                </a:lnTo>
                <a:lnTo>
                  <a:pt x="1096178" y="24788"/>
                </a:lnTo>
                <a:lnTo>
                  <a:pt x="1154017" y="118431"/>
                </a:lnTo>
                <a:lnTo>
                  <a:pt x="1159525" y="479234"/>
                </a:lnTo>
                <a:lnTo>
                  <a:pt x="969484" y="732622"/>
                </a:lnTo>
                <a:lnTo>
                  <a:pt x="815248" y="746393"/>
                </a:lnTo>
                <a:lnTo>
                  <a:pt x="760164" y="862070"/>
                </a:lnTo>
                <a:lnTo>
                  <a:pt x="655503" y="845544"/>
                </a:lnTo>
                <a:lnTo>
                  <a:pt x="608682" y="801477"/>
                </a:lnTo>
                <a:lnTo>
                  <a:pt x="553597" y="829019"/>
                </a:lnTo>
                <a:lnTo>
                  <a:pt x="548089" y="864824"/>
                </a:lnTo>
                <a:lnTo>
                  <a:pt x="465463" y="831773"/>
                </a:lnTo>
                <a:lnTo>
                  <a:pt x="413132" y="864824"/>
                </a:lnTo>
                <a:lnTo>
                  <a:pt x="347031" y="754655"/>
                </a:lnTo>
                <a:lnTo>
                  <a:pt x="393853" y="718850"/>
                </a:lnTo>
                <a:lnTo>
                  <a:pt x="388344" y="641732"/>
                </a:lnTo>
                <a:lnTo>
                  <a:pt x="209320" y="644487"/>
                </a:lnTo>
                <a:lnTo>
                  <a:pt x="181778" y="672029"/>
                </a:lnTo>
                <a:lnTo>
                  <a:pt x="41313" y="614190"/>
                </a:lnTo>
                <a:lnTo>
                  <a:pt x="0" y="575631"/>
                </a:lnTo>
                <a:lnTo>
                  <a:pt x="49576" y="501267"/>
                </a:lnTo>
                <a:lnTo>
                  <a:pt x="234108" y="429658"/>
                </a:lnTo>
                <a:lnTo>
                  <a:pt x="242371" y="371819"/>
                </a:lnTo>
                <a:lnTo>
                  <a:pt x="297455" y="374573"/>
                </a:lnTo>
                <a:lnTo>
                  <a:pt x="382836" y="459954"/>
                </a:lnTo>
                <a:lnTo>
                  <a:pt x="410378" y="454446"/>
                </a:lnTo>
                <a:lnTo>
                  <a:pt x="421395" y="305718"/>
                </a:lnTo>
                <a:lnTo>
                  <a:pt x="446183" y="269913"/>
                </a:lnTo>
                <a:lnTo>
                  <a:pt x="493005" y="327752"/>
                </a:lnTo>
                <a:lnTo>
                  <a:pt x="468217" y="391099"/>
                </a:lnTo>
                <a:lnTo>
                  <a:pt x="523301" y="418641"/>
                </a:lnTo>
                <a:lnTo>
                  <a:pt x="553597" y="479234"/>
                </a:lnTo>
                <a:lnTo>
                  <a:pt x="616944" y="481988"/>
                </a:lnTo>
                <a:lnTo>
                  <a:pt x="716096" y="520547"/>
                </a:lnTo>
                <a:lnTo>
                  <a:pt x="782197" y="481988"/>
                </a:lnTo>
                <a:lnTo>
                  <a:pt x="840036" y="385590"/>
                </a:lnTo>
                <a:lnTo>
                  <a:pt x="818002" y="275422"/>
                </a:lnTo>
                <a:lnTo>
                  <a:pt x="784952" y="308472"/>
                </a:lnTo>
                <a:lnTo>
                  <a:pt x="732622" y="272667"/>
                </a:lnTo>
                <a:lnTo>
                  <a:pt x="677537" y="302964"/>
                </a:lnTo>
                <a:lnTo>
                  <a:pt x="652749" y="198303"/>
                </a:lnTo>
                <a:lnTo>
                  <a:pt x="597665" y="184532"/>
                </a:lnTo>
                <a:lnTo>
                  <a:pt x="619699" y="35805"/>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45" name="Freeform 25"/>
          <p:cNvSpPr/>
          <p:nvPr/>
        </p:nvSpPr>
        <p:spPr bwMode="auto">
          <a:xfrm>
            <a:off x="3454400" y="2447925"/>
            <a:ext cx="974725" cy="1217613"/>
          </a:xfrm>
          <a:custGeom>
            <a:avLst/>
            <a:gdLst>
              <a:gd name="connsiteX0" fmla="*/ 115677 w 793215"/>
              <a:gd name="connsiteY0" fmla="*/ 0 h 988764"/>
              <a:gd name="connsiteX1" fmla="*/ 79872 w 793215"/>
              <a:gd name="connsiteY1" fmla="*/ 115677 h 988764"/>
              <a:gd name="connsiteX2" fmla="*/ 129448 w 793215"/>
              <a:gd name="connsiteY2" fmla="*/ 209321 h 988764"/>
              <a:gd name="connsiteX3" fmla="*/ 79872 w 793215"/>
              <a:gd name="connsiteY3" fmla="*/ 269914 h 988764"/>
              <a:gd name="connsiteX4" fmla="*/ 151482 w 793215"/>
              <a:gd name="connsiteY4" fmla="*/ 363557 h 988764"/>
              <a:gd name="connsiteX5" fmla="*/ 129448 w 793215"/>
              <a:gd name="connsiteY5" fmla="*/ 418641 h 988764"/>
              <a:gd name="connsiteX6" fmla="*/ 46822 w 793215"/>
              <a:gd name="connsiteY6" fmla="*/ 413133 h 988764"/>
              <a:gd name="connsiteX7" fmla="*/ 33051 w 793215"/>
              <a:gd name="connsiteY7" fmla="*/ 481988 h 988764"/>
              <a:gd name="connsiteX8" fmla="*/ 0 w 793215"/>
              <a:gd name="connsiteY8" fmla="*/ 512285 h 988764"/>
              <a:gd name="connsiteX9" fmla="*/ 0 w 793215"/>
              <a:gd name="connsiteY9" fmla="*/ 545335 h 988764"/>
              <a:gd name="connsiteX10" fmla="*/ 123940 w 793215"/>
              <a:gd name="connsiteY10" fmla="*/ 526056 h 988764"/>
              <a:gd name="connsiteX11" fmla="*/ 143219 w 793215"/>
              <a:gd name="connsiteY11" fmla="*/ 603174 h 988764"/>
              <a:gd name="connsiteX12" fmla="*/ 168007 w 793215"/>
              <a:gd name="connsiteY12" fmla="*/ 630716 h 988764"/>
              <a:gd name="connsiteX13" fmla="*/ 212075 w 793215"/>
              <a:gd name="connsiteY13" fmla="*/ 614191 h 988764"/>
              <a:gd name="connsiteX14" fmla="*/ 220337 w 793215"/>
              <a:gd name="connsiteY14" fmla="*/ 652750 h 988764"/>
              <a:gd name="connsiteX15" fmla="*/ 352540 w 793215"/>
              <a:gd name="connsiteY15" fmla="*/ 669275 h 988764"/>
              <a:gd name="connsiteX16" fmla="*/ 382836 w 793215"/>
              <a:gd name="connsiteY16" fmla="*/ 616945 h 988764"/>
              <a:gd name="connsiteX17" fmla="*/ 443429 w 793215"/>
              <a:gd name="connsiteY17" fmla="*/ 625207 h 988764"/>
              <a:gd name="connsiteX18" fmla="*/ 504022 w 793215"/>
              <a:gd name="connsiteY18" fmla="*/ 702326 h 988764"/>
              <a:gd name="connsiteX19" fmla="*/ 495759 w 793215"/>
              <a:gd name="connsiteY19" fmla="*/ 749147 h 988764"/>
              <a:gd name="connsiteX20" fmla="*/ 641733 w 793215"/>
              <a:gd name="connsiteY20" fmla="*/ 873087 h 988764"/>
              <a:gd name="connsiteX21" fmla="*/ 677537 w 793215"/>
              <a:gd name="connsiteY21" fmla="*/ 988764 h 988764"/>
              <a:gd name="connsiteX22" fmla="*/ 768427 w 793215"/>
              <a:gd name="connsiteY22" fmla="*/ 980501 h 988764"/>
              <a:gd name="connsiteX23" fmla="*/ 757410 w 793215"/>
              <a:gd name="connsiteY23" fmla="*/ 911646 h 988764"/>
              <a:gd name="connsiteX24" fmla="*/ 793215 w 793215"/>
              <a:gd name="connsiteY24" fmla="*/ 875841 h 988764"/>
              <a:gd name="connsiteX25" fmla="*/ 782198 w 793215"/>
              <a:gd name="connsiteY25" fmla="*/ 812494 h 988764"/>
              <a:gd name="connsiteX26" fmla="*/ 757410 w 793215"/>
              <a:gd name="connsiteY26" fmla="*/ 784952 h 988764"/>
              <a:gd name="connsiteX27" fmla="*/ 762918 w 793215"/>
              <a:gd name="connsiteY27" fmla="*/ 735376 h 988764"/>
              <a:gd name="connsiteX28" fmla="*/ 707834 w 793215"/>
              <a:gd name="connsiteY28" fmla="*/ 672029 h 988764"/>
              <a:gd name="connsiteX29" fmla="*/ 699571 w 793215"/>
              <a:gd name="connsiteY29" fmla="*/ 567369 h 988764"/>
              <a:gd name="connsiteX30" fmla="*/ 672029 w 793215"/>
              <a:gd name="connsiteY30" fmla="*/ 548089 h 988764"/>
              <a:gd name="connsiteX31" fmla="*/ 638978 w 793215"/>
              <a:gd name="connsiteY31" fmla="*/ 572877 h 988764"/>
              <a:gd name="connsiteX32" fmla="*/ 572877 w 793215"/>
              <a:gd name="connsiteY32" fmla="*/ 487497 h 988764"/>
              <a:gd name="connsiteX33" fmla="*/ 564615 w 793215"/>
              <a:gd name="connsiteY33" fmla="*/ 424150 h 988764"/>
              <a:gd name="connsiteX34" fmla="*/ 515039 w 793215"/>
              <a:gd name="connsiteY34" fmla="*/ 404870 h 988764"/>
              <a:gd name="connsiteX35" fmla="*/ 550843 w 793215"/>
              <a:gd name="connsiteY35" fmla="*/ 366311 h 988764"/>
              <a:gd name="connsiteX36" fmla="*/ 553598 w 793215"/>
              <a:gd name="connsiteY36" fmla="*/ 305718 h 988764"/>
              <a:gd name="connsiteX37" fmla="*/ 534318 w 793215"/>
              <a:gd name="connsiteY37" fmla="*/ 289193 h 988764"/>
              <a:gd name="connsiteX38" fmla="*/ 545335 w 793215"/>
              <a:gd name="connsiteY38" fmla="*/ 212075 h 988764"/>
              <a:gd name="connsiteX39" fmla="*/ 470971 w 793215"/>
              <a:gd name="connsiteY39" fmla="*/ 236863 h 988764"/>
              <a:gd name="connsiteX40" fmla="*/ 413133 w 793215"/>
              <a:gd name="connsiteY40" fmla="*/ 129448 h 988764"/>
              <a:gd name="connsiteX41" fmla="*/ 457200 w 793215"/>
              <a:gd name="connsiteY41" fmla="*/ 85381 h 988764"/>
              <a:gd name="connsiteX42" fmla="*/ 446183 w 793215"/>
              <a:gd name="connsiteY42" fmla="*/ 5509 h 988764"/>
              <a:gd name="connsiteX43" fmla="*/ 275422 w 793215"/>
              <a:gd name="connsiteY43" fmla="*/ 16526 h 988764"/>
              <a:gd name="connsiteX44" fmla="*/ 236863 w 793215"/>
              <a:gd name="connsiteY44" fmla="*/ 49576 h 988764"/>
              <a:gd name="connsiteX45" fmla="*/ 115677 w 793215"/>
              <a:gd name="connsiteY45" fmla="*/ 0 h 98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93215" h="988764">
                <a:moveTo>
                  <a:pt x="115677" y="0"/>
                </a:moveTo>
                <a:lnTo>
                  <a:pt x="79872" y="115677"/>
                </a:lnTo>
                <a:lnTo>
                  <a:pt x="129448" y="209321"/>
                </a:lnTo>
                <a:lnTo>
                  <a:pt x="79872" y="269914"/>
                </a:lnTo>
                <a:lnTo>
                  <a:pt x="151482" y="363557"/>
                </a:lnTo>
                <a:lnTo>
                  <a:pt x="129448" y="418641"/>
                </a:lnTo>
                <a:lnTo>
                  <a:pt x="46822" y="413133"/>
                </a:lnTo>
                <a:lnTo>
                  <a:pt x="33051" y="481988"/>
                </a:lnTo>
                <a:lnTo>
                  <a:pt x="0" y="512285"/>
                </a:lnTo>
                <a:lnTo>
                  <a:pt x="0" y="545335"/>
                </a:lnTo>
                <a:lnTo>
                  <a:pt x="123940" y="526056"/>
                </a:lnTo>
                <a:lnTo>
                  <a:pt x="143219" y="603174"/>
                </a:lnTo>
                <a:lnTo>
                  <a:pt x="168007" y="630716"/>
                </a:lnTo>
                <a:lnTo>
                  <a:pt x="212075" y="614191"/>
                </a:lnTo>
                <a:lnTo>
                  <a:pt x="220337" y="652750"/>
                </a:lnTo>
                <a:lnTo>
                  <a:pt x="352540" y="669275"/>
                </a:lnTo>
                <a:lnTo>
                  <a:pt x="382836" y="616945"/>
                </a:lnTo>
                <a:lnTo>
                  <a:pt x="443429" y="625207"/>
                </a:lnTo>
                <a:lnTo>
                  <a:pt x="504022" y="702326"/>
                </a:lnTo>
                <a:lnTo>
                  <a:pt x="495759" y="749147"/>
                </a:lnTo>
                <a:lnTo>
                  <a:pt x="641733" y="873087"/>
                </a:lnTo>
                <a:lnTo>
                  <a:pt x="677537" y="988764"/>
                </a:lnTo>
                <a:lnTo>
                  <a:pt x="768427" y="980501"/>
                </a:lnTo>
                <a:lnTo>
                  <a:pt x="757410" y="911646"/>
                </a:lnTo>
                <a:lnTo>
                  <a:pt x="793215" y="875841"/>
                </a:lnTo>
                <a:lnTo>
                  <a:pt x="782198" y="812494"/>
                </a:lnTo>
                <a:lnTo>
                  <a:pt x="757410" y="784952"/>
                </a:lnTo>
                <a:lnTo>
                  <a:pt x="762918" y="735376"/>
                </a:lnTo>
                <a:lnTo>
                  <a:pt x="707834" y="672029"/>
                </a:lnTo>
                <a:lnTo>
                  <a:pt x="699571" y="567369"/>
                </a:lnTo>
                <a:lnTo>
                  <a:pt x="672029" y="548089"/>
                </a:lnTo>
                <a:lnTo>
                  <a:pt x="638978" y="572877"/>
                </a:lnTo>
                <a:lnTo>
                  <a:pt x="572877" y="487497"/>
                </a:lnTo>
                <a:lnTo>
                  <a:pt x="564615" y="424150"/>
                </a:lnTo>
                <a:lnTo>
                  <a:pt x="515039" y="404870"/>
                </a:lnTo>
                <a:lnTo>
                  <a:pt x="550843" y="366311"/>
                </a:lnTo>
                <a:lnTo>
                  <a:pt x="553598" y="305718"/>
                </a:lnTo>
                <a:lnTo>
                  <a:pt x="534318" y="289193"/>
                </a:lnTo>
                <a:lnTo>
                  <a:pt x="545335" y="212075"/>
                </a:lnTo>
                <a:lnTo>
                  <a:pt x="470971" y="236863"/>
                </a:lnTo>
                <a:lnTo>
                  <a:pt x="413133" y="129448"/>
                </a:lnTo>
                <a:lnTo>
                  <a:pt x="457200" y="85381"/>
                </a:lnTo>
                <a:lnTo>
                  <a:pt x="446183" y="5509"/>
                </a:lnTo>
                <a:lnTo>
                  <a:pt x="275422" y="16526"/>
                </a:lnTo>
                <a:lnTo>
                  <a:pt x="236863" y="49576"/>
                </a:lnTo>
                <a:lnTo>
                  <a:pt x="115677"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46" name="Freeform 31"/>
          <p:cNvSpPr/>
          <p:nvPr/>
        </p:nvSpPr>
        <p:spPr bwMode="auto">
          <a:xfrm>
            <a:off x="4097338" y="2660650"/>
            <a:ext cx="381000" cy="498475"/>
          </a:xfrm>
          <a:custGeom>
            <a:avLst/>
            <a:gdLst>
              <a:gd name="connsiteX0" fmla="*/ 77118 w 308473"/>
              <a:gd name="connsiteY0" fmla="*/ 63347 h 404870"/>
              <a:gd name="connsiteX1" fmla="*/ 24788 w 308473"/>
              <a:gd name="connsiteY1" fmla="*/ 41313 h 404870"/>
              <a:gd name="connsiteX2" fmla="*/ 16526 w 308473"/>
              <a:gd name="connsiteY2" fmla="*/ 123940 h 404870"/>
              <a:gd name="connsiteX3" fmla="*/ 38559 w 308473"/>
              <a:gd name="connsiteY3" fmla="*/ 151482 h 404870"/>
              <a:gd name="connsiteX4" fmla="*/ 30297 w 308473"/>
              <a:gd name="connsiteY4" fmla="*/ 192795 h 404870"/>
              <a:gd name="connsiteX5" fmla="*/ 0 w 308473"/>
              <a:gd name="connsiteY5" fmla="*/ 234108 h 404870"/>
              <a:gd name="connsiteX6" fmla="*/ 38559 w 308473"/>
              <a:gd name="connsiteY6" fmla="*/ 256142 h 404870"/>
              <a:gd name="connsiteX7" fmla="*/ 55085 w 308473"/>
              <a:gd name="connsiteY7" fmla="*/ 330506 h 404870"/>
              <a:gd name="connsiteX8" fmla="*/ 112923 w 308473"/>
              <a:gd name="connsiteY8" fmla="*/ 402116 h 404870"/>
              <a:gd name="connsiteX9" fmla="*/ 156991 w 308473"/>
              <a:gd name="connsiteY9" fmla="*/ 385590 h 404870"/>
              <a:gd name="connsiteX10" fmla="*/ 190041 w 308473"/>
              <a:gd name="connsiteY10" fmla="*/ 404870 h 404870"/>
              <a:gd name="connsiteX11" fmla="*/ 217583 w 308473"/>
              <a:gd name="connsiteY11" fmla="*/ 363557 h 404870"/>
              <a:gd name="connsiteX12" fmla="*/ 239617 w 308473"/>
              <a:gd name="connsiteY12" fmla="*/ 349785 h 404870"/>
              <a:gd name="connsiteX13" fmla="*/ 225846 w 308473"/>
              <a:gd name="connsiteY13" fmla="*/ 280930 h 404870"/>
              <a:gd name="connsiteX14" fmla="*/ 300210 w 308473"/>
              <a:gd name="connsiteY14" fmla="*/ 168007 h 404870"/>
              <a:gd name="connsiteX15" fmla="*/ 308473 w 308473"/>
              <a:gd name="connsiteY15" fmla="*/ 63347 h 404870"/>
              <a:gd name="connsiteX16" fmla="*/ 192795 w 308473"/>
              <a:gd name="connsiteY16" fmla="*/ 44067 h 404870"/>
              <a:gd name="connsiteX17" fmla="*/ 137711 w 308473"/>
              <a:gd name="connsiteY17" fmla="*/ 0 h 404870"/>
              <a:gd name="connsiteX18" fmla="*/ 77118 w 308473"/>
              <a:gd name="connsiteY18" fmla="*/ 63347 h 40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8473" h="404870">
                <a:moveTo>
                  <a:pt x="77118" y="63347"/>
                </a:moveTo>
                <a:lnTo>
                  <a:pt x="24788" y="41313"/>
                </a:lnTo>
                <a:lnTo>
                  <a:pt x="16526" y="123940"/>
                </a:lnTo>
                <a:lnTo>
                  <a:pt x="38559" y="151482"/>
                </a:lnTo>
                <a:lnTo>
                  <a:pt x="30297" y="192795"/>
                </a:lnTo>
                <a:lnTo>
                  <a:pt x="0" y="234108"/>
                </a:lnTo>
                <a:lnTo>
                  <a:pt x="38559" y="256142"/>
                </a:lnTo>
                <a:lnTo>
                  <a:pt x="55085" y="330506"/>
                </a:lnTo>
                <a:lnTo>
                  <a:pt x="112923" y="402116"/>
                </a:lnTo>
                <a:lnTo>
                  <a:pt x="156991" y="385590"/>
                </a:lnTo>
                <a:lnTo>
                  <a:pt x="190041" y="404870"/>
                </a:lnTo>
                <a:lnTo>
                  <a:pt x="217583" y="363557"/>
                </a:lnTo>
                <a:lnTo>
                  <a:pt x="239617" y="349785"/>
                </a:lnTo>
                <a:lnTo>
                  <a:pt x="225846" y="280930"/>
                </a:lnTo>
                <a:lnTo>
                  <a:pt x="300210" y="168007"/>
                </a:lnTo>
                <a:lnTo>
                  <a:pt x="308473" y="63347"/>
                </a:lnTo>
                <a:lnTo>
                  <a:pt x="192795" y="44067"/>
                </a:lnTo>
                <a:lnTo>
                  <a:pt x="137711" y="0"/>
                </a:lnTo>
                <a:lnTo>
                  <a:pt x="77118" y="63347"/>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47" name="Freeform 32"/>
          <p:cNvSpPr/>
          <p:nvPr/>
        </p:nvSpPr>
        <p:spPr bwMode="auto">
          <a:xfrm>
            <a:off x="4948238" y="1814513"/>
            <a:ext cx="1104900" cy="1060450"/>
          </a:xfrm>
          <a:custGeom>
            <a:avLst/>
            <a:gdLst>
              <a:gd name="connsiteX0" fmla="*/ 0 w 897874"/>
              <a:gd name="connsiteY0" fmla="*/ 0 h 862070"/>
              <a:gd name="connsiteX1" fmla="*/ 8262 w 897874"/>
              <a:gd name="connsiteY1" fmla="*/ 324997 h 862070"/>
              <a:gd name="connsiteX2" fmla="*/ 68855 w 897874"/>
              <a:gd name="connsiteY2" fmla="*/ 341523 h 862070"/>
              <a:gd name="connsiteX3" fmla="*/ 115677 w 897874"/>
              <a:gd name="connsiteY3" fmla="*/ 393853 h 862070"/>
              <a:gd name="connsiteX4" fmla="*/ 267159 w 897874"/>
              <a:gd name="connsiteY4" fmla="*/ 462708 h 862070"/>
              <a:gd name="connsiteX5" fmla="*/ 404870 w 897874"/>
              <a:gd name="connsiteY5" fmla="*/ 622453 h 862070"/>
              <a:gd name="connsiteX6" fmla="*/ 493005 w 897874"/>
              <a:gd name="connsiteY6" fmla="*/ 746392 h 862070"/>
              <a:gd name="connsiteX7" fmla="*/ 592156 w 897874"/>
              <a:gd name="connsiteY7" fmla="*/ 773935 h 862070"/>
              <a:gd name="connsiteX8" fmla="*/ 707833 w 897874"/>
              <a:gd name="connsiteY8" fmla="*/ 862070 h 862070"/>
              <a:gd name="connsiteX9" fmla="*/ 754655 w 897874"/>
              <a:gd name="connsiteY9" fmla="*/ 812494 h 862070"/>
              <a:gd name="connsiteX10" fmla="*/ 751901 w 897874"/>
              <a:gd name="connsiteY10" fmla="*/ 771180 h 862070"/>
              <a:gd name="connsiteX11" fmla="*/ 870332 w 897874"/>
              <a:gd name="connsiteY11" fmla="*/ 603173 h 862070"/>
              <a:gd name="connsiteX12" fmla="*/ 897874 w 897874"/>
              <a:gd name="connsiteY12" fmla="*/ 592156 h 862070"/>
              <a:gd name="connsiteX13" fmla="*/ 806985 w 897874"/>
              <a:gd name="connsiteY13" fmla="*/ 487496 h 862070"/>
              <a:gd name="connsiteX14" fmla="*/ 765672 w 897874"/>
              <a:gd name="connsiteY14" fmla="*/ 470971 h 862070"/>
              <a:gd name="connsiteX15" fmla="*/ 729867 w 897874"/>
              <a:gd name="connsiteY15" fmla="*/ 490250 h 862070"/>
              <a:gd name="connsiteX16" fmla="*/ 685800 w 897874"/>
              <a:gd name="connsiteY16" fmla="*/ 446183 h 862070"/>
              <a:gd name="connsiteX17" fmla="*/ 633470 w 897874"/>
              <a:gd name="connsiteY17" fmla="*/ 462708 h 862070"/>
              <a:gd name="connsiteX18" fmla="*/ 495759 w 897874"/>
              <a:gd name="connsiteY18" fmla="*/ 377327 h 862070"/>
              <a:gd name="connsiteX19" fmla="*/ 481988 w 897874"/>
              <a:gd name="connsiteY19" fmla="*/ 322243 h 862070"/>
              <a:gd name="connsiteX20" fmla="*/ 327752 w 897874"/>
              <a:gd name="connsiteY20" fmla="*/ 253388 h 862070"/>
              <a:gd name="connsiteX21" fmla="*/ 272667 w 897874"/>
              <a:gd name="connsiteY21" fmla="*/ 278176 h 862070"/>
              <a:gd name="connsiteX22" fmla="*/ 0 w 897874"/>
              <a:gd name="connsiteY22" fmla="*/ 0 h 86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7874" h="862070">
                <a:moveTo>
                  <a:pt x="0" y="0"/>
                </a:moveTo>
                <a:lnTo>
                  <a:pt x="8262" y="324997"/>
                </a:lnTo>
                <a:lnTo>
                  <a:pt x="68855" y="341523"/>
                </a:lnTo>
                <a:lnTo>
                  <a:pt x="115677" y="393853"/>
                </a:lnTo>
                <a:lnTo>
                  <a:pt x="267159" y="462708"/>
                </a:lnTo>
                <a:lnTo>
                  <a:pt x="404870" y="622453"/>
                </a:lnTo>
                <a:lnTo>
                  <a:pt x="493005" y="746392"/>
                </a:lnTo>
                <a:lnTo>
                  <a:pt x="592156" y="773935"/>
                </a:lnTo>
                <a:lnTo>
                  <a:pt x="707833" y="862070"/>
                </a:lnTo>
                <a:lnTo>
                  <a:pt x="754655" y="812494"/>
                </a:lnTo>
                <a:lnTo>
                  <a:pt x="751901" y="771180"/>
                </a:lnTo>
                <a:lnTo>
                  <a:pt x="870332" y="603173"/>
                </a:lnTo>
                <a:lnTo>
                  <a:pt x="897874" y="592156"/>
                </a:lnTo>
                <a:lnTo>
                  <a:pt x="806985" y="487496"/>
                </a:lnTo>
                <a:lnTo>
                  <a:pt x="765672" y="470971"/>
                </a:lnTo>
                <a:lnTo>
                  <a:pt x="729867" y="490250"/>
                </a:lnTo>
                <a:lnTo>
                  <a:pt x="685800" y="446183"/>
                </a:lnTo>
                <a:lnTo>
                  <a:pt x="633470" y="462708"/>
                </a:lnTo>
                <a:lnTo>
                  <a:pt x="495759" y="377327"/>
                </a:lnTo>
                <a:lnTo>
                  <a:pt x="481988" y="322243"/>
                </a:lnTo>
                <a:lnTo>
                  <a:pt x="327752" y="253388"/>
                </a:lnTo>
                <a:lnTo>
                  <a:pt x="272667" y="278176"/>
                </a:lnTo>
                <a:lnTo>
                  <a:pt x="0"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48" name="Freeform 33"/>
          <p:cNvSpPr/>
          <p:nvPr/>
        </p:nvSpPr>
        <p:spPr bwMode="auto">
          <a:xfrm>
            <a:off x="4724400" y="2224088"/>
            <a:ext cx="1087438" cy="935037"/>
          </a:xfrm>
          <a:custGeom>
            <a:avLst/>
            <a:gdLst>
              <a:gd name="connsiteX0" fmla="*/ 184533 w 884104"/>
              <a:gd name="connsiteY0" fmla="*/ 0 h 760164"/>
              <a:gd name="connsiteX1" fmla="*/ 0 w 884104"/>
              <a:gd name="connsiteY1" fmla="*/ 291947 h 760164"/>
              <a:gd name="connsiteX2" fmla="*/ 297456 w 884104"/>
              <a:gd name="connsiteY2" fmla="*/ 291947 h 760164"/>
              <a:gd name="connsiteX3" fmla="*/ 305718 w 884104"/>
              <a:gd name="connsiteY3" fmla="*/ 738130 h 760164"/>
              <a:gd name="connsiteX4" fmla="*/ 776690 w 884104"/>
              <a:gd name="connsiteY4" fmla="*/ 760164 h 760164"/>
              <a:gd name="connsiteX5" fmla="*/ 801478 w 884104"/>
              <a:gd name="connsiteY5" fmla="*/ 707834 h 760164"/>
              <a:gd name="connsiteX6" fmla="*/ 790461 w 884104"/>
              <a:gd name="connsiteY6" fmla="*/ 661012 h 760164"/>
              <a:gd name="connsiteX7" fmla="*/ 884104 w 884104"/>
              <a:gd name="connsiteY7" fmla="*/ 531564 h 760164"/>
              <a:gd name="connsiteX8" fmla="*/ 779444 w 884104"/>
              <a:gd name="connsiteY8" fmla="*/ 440675 h 760164"/>
              <a:gd name="connsiteX9" fmla="*/ 680292 w 884104"/>
              <a:gd name="connsiteY9" fmla="*/ 418641 h 760164"/>
              <a:gd name="connsiteX10" fmla="*/ 451692 w 884104"/>
              <a:gd name="connsiteY10" fmla="*/ 118431 h 760164"/>
              <a:gd name="connsiteX11" fmla="*/ 294702 w 884104"/>
              <a:gd name="connsiteY11" fmla="*/ 57839 h 760164"/>
              <a:gd name="connsiteX12" fmla="*/ 242372 w 884104"/>
              <a:gd name="connsiteY12" fmla="*/ 2754 h 760164"/>
              <a:gd name="connsiteX13" fmla="*/ 184533 w 884104"/>
              <a:gd name="connsiteY13" fmla="*/ 0 h 76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4104" h="760164">
                <a:moveTo>
                  <a:pt x="184533" y="0"/>
                </a:moveTo>
                <a:lnTo>
                  <a:pt x="0" y="291947"/>
                </a:lnTo>
                <a:lnTo>
                  <a:pt x="297456" y="291947"/>
                </a:lnTo>
                <a:lnTo>
                  <a:pt x="305718" y="738130"/>
                </a:lnTo>
                <a:lnTo>
                  <a:pt x="776690" y="760164"/>
                </a:lnTo>
                <a:lnTo>
                  <a:pt x="801478" y="707834"/>
                </a:lnTo>
                <a:lnTo>
                  <a:pt x="790461" y="661012"/>
                </a:lnTo>
                <a:lnTo>
                  <a:pt x="884104" y="531564"/>
                </a:lnTo>
                <a:lnTo>
                  <a:pt x="779444" y="440675"/>
                </a:lnTo>
                <a:lnTo>
                  <a:pt x="680292" y="418641"/>
                </a:lnTo>
                <a:lnTo>
                  <a:pt x="451692" y="118431"/>
                </a:lnTo>
                <a:lnTo>
                  <a:pt x="294702" y="57839"/>
                </a:lnTo>
                <a:lnTo>
                  <a:pt x="242372" y="2754"/>
                </a:lnTo>
                <a:lnTo>
                  <a:pt x="184533"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49" name="Freeform 34"/>
          <p:cNvSpPr/>
          <p:nvPr/>
        </p:nvSpPr>
        <p:spPr bwMode="auto">
          <a:xfrm>
            <a:off x="4318000" y="2579688"/>
            <a:ext cx="787400" cy="1125537"/>
          </a:xfrm>
          <a:custGeom>
            <a:avLst/>
            <a:gdLst>
              <a:gd name="connsiteX0" fmla="*/ 170762 w 638979"/>
              <a:gd name="connsiteY0" fmla="*/ 0 h 914400"/>
              <a:gd name="connsiteX1" fmla="*/ 115678 w 638979"/>
              <a:gd name="connsiteY1" fmla="*/ 123939 h 914400"/>
              <a:gd name="connsiteX2" fmla="*/ 118432 w 638979"/>
              <a:gd name="connsiteY2" fmla="*/ 250633 h 914400"/>
              <a:gd name="connsiteX3" fmla="*/ 46822 w 638979"/>
              <a:gd name="connsiteY3" fmla="*/ 341523 h 914400"/>
              <a:gd name="connsiteX4" fmla="*/ 55085 w 638979"/>
              <a:gd name="connsiteY4" fmla="*/ 418641 h 914400"/>
              <a:gd name="connsiteX5" fmla="*/ 8263 w 638979"/>
              <a:gd name="connsiteY5" fmla="*/ 470971 h 914400"/>
              <a:gd name="connsiteX6" fmla="*/ 0 w 638979"/>
              <a:gd name="connsiteY6" fmla="*/ 575631 h 914400"/>
              <a:gd name="connsiteX7" fmla="*/ 60593 w 638979"/>
              <a:gd name="connsiteY7" fmla="*/ 630715 h 914400"/>
              <a:gd name="connsiteX8" fmla="*/ 60593 w 638979"/>
              <a:gd name="connsiteY8" fmla="*/ 691308 h 914400"/>
              <a:gd name="connsiteX9" fmla="*/ 77118 w 638979"/>
              <a:gd name="connsiteY9" fmla="*/ 732621 h 914400"/>
              <a:gd name="connsiteX10" fmla="*/ 96398 w 638979"/>
              <a:gd name="connsiteY10" fmla="*/ 779443 h 914400"/>
              <a:gd name="connsiteX11" fmla="*/ 261651 w 638979"/>
              <a:gd name="connsiteY11" fmla="*/ 790460 h 914400"/>
              <a:gd name="connsiteX12" fmla="*/ 278176 w 638979"/>
              <a:gd name="connsiteY12" fmla="*/ 779443 h 914400"/>
              <a:gd name="connsiteX13" fmla="*/ 300210 w 638979"/>
              <a:gd name="connsiteY13" fmla="*/ 812494 h 914400"/>
              <a:gd name="connsiteX14" fmla="*/ 366311 w 638979"/>
              <a:gd name="connsiteY14" fmla="*/ 812494 h 914400"/>
              <a:gd name="connsiteX15" fmla="*/ 415887 w 638979"/>
              <a:gd name="connsiteY15" fmla="*/ 812494 h 914400"/>
              <a:gd name="connsiteX16" fmla="*/ 424150 w 638979"/>
              <a:gd name="connsiteY16" fmla="*/ 837282 h 914400"/>
              <a:gd name="connsiteX17" fmla="*/ 448938 w 638979"/>
              <a:gd name="connsiteY17" fmla="*/ 842790 h 914400"/>
              <a:gd name="connsiteX18" fmla="*/ 451692 w 638979"/>
              <a:gd name="connsiteY18" fmla="*/ 903383 h 914400"/>
              <a:gd name="connsiteX19" fmla="*/ 512285 w 638979"/>
              <a:gd name="connsiteY19" fmla="*/ 914400 h 914400"/>
              <a:gd name="connsiteX20" fmla="*/ 548090 w 638979"/>
              <a:gd name="connsiteY20" fmla="*/ 903383 h 914400"/>
              <a:gd name="connsiteX21" fmla="*/ 638979 w 638979"/>
              <a:gd name="connsiteY21" fmla="*/ 437920 h 914400"/>
              <a:gd name="connsiteX22" fmla="*/ 622453 w 638979"/>
              <a:gd name="connsiteY22" fmla="*/ 0 h 914400"/>
              <a:gd name="connsiteX23" fmla="*/ 170762 w 638979"/>
              <a:gd name="connsiteY23"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8979" h="914400">
                <a:moveTo>
                  <a:pt x="170762" y="0"/>
                </a:moveTo>
                <a:lnTo>
                  <a:pt x="115678" y="123939"/>
                </a:lnTo>
                <a:lnTo>
                  <a:pt x="118432" y="250633"/>
                </a:lnTo>
                <a:lnTo>
                  <a:pt x="46822" y="341523"/>
                </a:lnTo>
                <a:lnTo>
                  <a:pt x="55085" y="418641"/>
                </a:lnTo>
                <a:lnTo>
                  <a:pt x="8263" y="470971"/>
                </a:lnTo>
                <a:lnTo>
                  <a:pt x="0" y="575631"/>
                </a:lnTo>
                <a:lnTo>
                  <a:pt x="60593" y="630715"/>
                </a:lnTo>
                <a:lnTo>
                  <a:pt x="60593" y="691308"/>
                </a:lnTo>
                <a:lnTo>
                  <a:pt x="77118" y="732621"/>
                </a:lnTo>
                <a:lnTo>
                  <a:pt x="96398" y="779443"/>
                </a:lnTo>
                <a:lnTo>
                  <a:pt x="261651" y="790460"/>
                </a:lnTo>
                <a:lnTo>
                  <a:pt x="278176" y="779443"/>
                </a:lnTo>
                <a:lnTo>
                  <a:pt x="300210" y="812494"/>
                </a:lnTo>
                <a:lnTo>
                  <a:pt x="366311" y="812494"/>
                </a:lnTo>
                <a:lnTo>
                  <a:pt x="415887" y="812494"/>
                </a:lnTo>
                <a:lnTo>
                  <a:pt x="424150" y="837282"/>
                </a:lnTo>
                <a:lnTo>
                  <a:pt x="448938" y="842790"/>
                </a:lnTo>
                <a:lnTo>
                  <a:pt x="451692" y="903383"/>
                </a:lnTo>
                <a:lnTo>
                  <a:pt x="512285" y="914400"/>
                </a:lnTo>
                <a:lnTo>
                  <a:pt x="548090" y="903383"/>
                </a:lnTo>
                <a:lnTo>
                  <a:pt x="638979" y="437920"/>
                </a:lnTo>
                <a:lnTo>
                  <a:pt x="622453" y="0"/>
                </a:lnTo>
                <a:lnTo>
                  <a:pt x="170762"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50" name="Freeform 35"/>
          <p:cNvSpPr/>
          <p:nvPr/>
        </p:nvSpPr>
        <p:spPr bwMode="auto">
          <a:xfrm>
            <a:off x="3349625" y="3098800"/>
            <a:ext cx="949325" cy="1027113"/>
          </a:xfrm>
          <a:custGeom>
            <a:avLst/>
            <a:gdLst>
              <a:gd name="connsiteX0" fmla="*/ 93644 w 771181"/>
              <a:gd name="connsiteY0" fmla="*/ 24788 h 834528"/>
              <a:gd name="connsiteX1" fmla="*/ 0 w 771181"/>
              <a:gd name="connsiteY1" fmla="*/ 156990 h 834528"/>
              <a:gd name="connsiteX2" fmla="*/ 57839 w 771181"/>
              <a:gd name="connsiteY2" fmla="*/ 170761 h 834528"/>
              <a:gd name="connsiteX3" fmla="*/ 132203 w 771181"/>
              <a:gd name="connsiteY3" fmla="*/ 236863 h 834528"/>
              <a:gd name="connsiteX4" fmla="*/ 137711 w 771181"/>
              <a:gd name="connsiteY4" fmla="*/ 388344 h 834528"/>
              <a:gd name="connsiteX5" fmla="*/ 187287 w 771181"/>
              <a:gd name="connsiteY5" fmla="*/ 415887 h 834528"/>
              <a:gd name="connsiteX6" fmla="*/ 228600 w 771181"/>
              <a:gd name="connsiteY6" fmla="*/ 385590 h 834528"/>
              <a:gd name="connsiteX7" fmla="*/ 446184 w 771181"/>
              <a:gd name="connsiteY7" fmla="*/ 611436 h 834528"/>
              <a:gd name="connsiteX8" fmla="*/ 457200 w 771181"/>
              <a:gd name="connsiteY8" fmla="*/ 724359 h 834528"/>
              <a:gd name="connsiteX9" fmla="*/ 512285 w 771181"/>
              <a:gd name="connsiteY9" fmla="*/ 826265 h 834528"/>
              <a:gd name="connsiteX10" fmla="*/ 674784 w 771181"/>
              <a:gd name="connsiteY10" fmla="*/ 834528 h 834528"/>
              <a:gd name="connsiteX11" fmla="*/ 710588 w 771181"/>
              <a:gd name="connsiteY11" fmla="*/ 826265 h 834528"/>
              <a:gd name="connsiteX12" fmla="*/ 707834 w 771181"/>
              <a:gd name="connsiteY12" fmla="*/ 616944 h 834528"/>
              <a:gd name="connsiteX13" fmla="*/ 771181 w 771181"/>
              <a:gd name="connsiteY13" fmla="*/ 468217 h 834528"/>
              <a:gd name="connsiteX14" fmla="*/ 707834 w 771181"/>
              <a:gd name="connsiteY14" fmla="*/ 333260 h 834528"/>
              <a:gd name="connsiteX15" fmla="*/ 575632 w 771181"/>
              <a:gd name="connsiteY15" fmla="*/ 220337 h 834528"/>
              <a:gd name="connsiteX16" fmla="*/ 589403 w 771181"/>
              <a:gd name="connsiteY16" fmla="*/ 176270 h 834528"/>
              <a:gd name="connsiteX17" fmla="*/ 534318 w 771181"/>
              <a:gd name="connsiteY17" fmla="*/ 99152 h 834528"/>
              <a:gd name="connsiteX18" fmla="*/ 470971 w 771181"/>
              <a:gd name="connsiteY18" fmla="*/ 85381 h 834528"/>
              <a:gd name="connsiteX19" fmla="*/ 443429 w 771181"/>
              <a:gd name="connsiteY19" fmla="*/ 145973 h 834528"/>
              <a:gd name="connsiteX20" fmla="*/ 308473 w 771181"/>
              <a:gd name="connsiteY20" fmla="*/ 134957 h 834528"/>
              <a:gd name="connsiteX21" fmla="*/ 291947 w 771181"/>
              <a:gd name="connsiteY21" fmla="*/ 79872 h 834528"/>
              <a:gd name="connsiteX22" fmla="*/ 245126 w 771181"/>
              <a:gd name="connsiteY22" fmla="*/ 99152 h 834528"/>
              <a:gd name="connsiteX23" fmla="*/ 203812 w 771181"/>
              <a:gd name="connsiteY23" fmla="*/ 0 h 834528"/>
              <a:gd name="connsiteX24" fmla="*/ 93644 w 771181"/>
              <a:gd name="connsiteY24" fmla="*/ 24788 h 8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1181" h="834528">
                <a:moveTo>
                  <a:pt x="93644" y="24788"/>
                </a:moveTo>
                <a:lnTo>
                  <a:pt x="0" y="156990"/>
                </a:lnTo>
                <a:lnTo>
                  <a:pt x="57839" y="170761"/>
                </a:lnTo>
                <a:lnTo>
                  <a:pt x="132203" y="236863"/>
                </a:lnTo>
                <a:lnTo>
                  <a:pt x="137711" y="388344"/>
                </a:lnTo>
                <a:lnTo>
                  <a:pt x="187287" y="415887"/>
                </a:lnTo>
                <a:lnTo>
                  <a:pt x="228600" y="385590"/>
                </a:lnTo>
                <a:lnTo>
                  <a:pt x="446184" y="611436"/>
                </a:lnTo>
                <a:lnTo>
                  <a:pt x="457200" y="724359"/>
                </a:lnTo>
                <a:lnTo>
                  <a:pt x="512285" y="826265"/>
                </a:lnTo>
                <a:lnTo>
                  <a:pt x="674784" y="834528"/>
                </a:lnTo>
                <a:lnTo>
                  <a:pt x="710588" y="826265"/>
                </a:lnTo>
                <a:lnTo>
                  <a:pt x="707834" y="616944"/>
                </a:lnTo>
                <a:lnTo>
                  <a:pt x="771181" y="468217"/>
                </a:lnTo>
                <a:lnTo>
                  <a:pt x="707834" y="333260"/>
                </a:lnTo>
                <a:lnTo>
                  <a:pt x="575632" y="220337"/>
                </a:lnTo>
                <a:lnTo>
                  <a:pt x="589403" y="176270"/>
                </a:lnTo>
                <a:lnTo>
                  <a:pt x="534318" y="99152"/>
                </a:lnTo>
                <a:lnTo>
                  <a:pt x="470971" y="85381"/>
                </a:lnTo>
                <a:lnTo>
                  <a:pt x="443429" y="145973"/>
                </a:lnTo>
                <a:lnTo>
                  <a:pt x="308473" y="134957"/>
                </a:lnTo>
                <a:lnTo>
                  <a:pt x="291947" y="79872"/>
                </a:lnTo>
                <a:lnTo>
                  <a:pt x="245126" y="99152"/>
                </a:lnTo>
                <a:lnTo>
                  <a:pt x="203812" y="0"/>
                </a:lnTo>
                <a:lnTo>
                  <a:pt x="93644" y="24788"/>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52" name="Freeform 37"/>
          <p:cNvSpPr/>
          <p:nvPr/>
        </p:nvSpPr>
        <p:spPr bwMode="auto">
          <a:xfrm>
            <a:off x="5497513" y="2935288"/>
            <a:ext cx="900112" cy="922337"/>
          </a:xfrm>
          <a:custGeom>
            <a:avLst/>
            <a:gdLst>
              <a:gd name="connsiteX0" fmla="*/ 209320 w 732622"/>
              <a:gd name="connsiteY0" fmla="*/ 16526 h 749147"/>
              <a:gd name="connsiteX1" fmla="*/ 173516 w 732622"/>
              <a:gd name="connsiteY1" fmla="*/ 90890 h 749147"/>
              <a:gd name="connsiteX2" fmla="*/ 170761 w 732622"/>
              <a:gd name="connsiteY2" fmla="*/ 140466 h 749147"/>
              <a:gd name="connsiteX3" fmla="*/ 151482 w 732622"/>
              <a:gd name="connsiteY3" fmla="*/ 168008 h 749147"/>
              <a:gd name="connsiteX4" fmla="*/ 121185 w 732622"/>
              <a:gd name="connsiteY4" fmla="*/ 225846 h 749147"/>
              <a:gd name="connsiteX5" fmla="*/ 132202 w 732622"/>
              <a:gd name="connsiteY5" fmla="*/ 275422 h 749147"/>
              <a:gd name="connsiteX6" fmla="*/ 101906 w 732622"/>
              <a:gd name="connsiteY6" fmla="*/ 308473 h 749147"/>
              <a:gd name="connsiteX7" fmla="*/ 99152 w 732622"/>
              <a:gd name="connsiteY7" fmla="*/ 352540 h 749147"/>
              <a:gd name="connsiteX8" fmla="*/ 30296 w 732622"/>
              <a:gd name="connsiteY8" fmla="*/ 418641 h 749147"/>
              <a:gd name="connsiteX9" fmla="*/ 0 w 732622"/>
              <a:gd name="connsiteY9" fmla="*/ 658258 h 749147"/>
              <a:gd name="connsiteX10" fmla="*/ 88135 w 732622"/>
              <a:gd name="connsiteY10" fmla="*/ 622454 h 749147"/>
              <a:gd name="connsiteX11" fmla="*/ 192795 w 732622"/>
              <a:gd name="connsiteY11" fmla="*/ 603174 h 749147"/>
              <a:gd name="connsiteX12" fmla="*/ 228600 w 732622"/>
              <a:gd name="connsiteY12" fmla="*/ 600420 h 749147"/>
              <a:gd name="connsiteX13" fmla="*/ 319489 w 732622"/>
              <a:gd name="connsiteY13" fmla="*/ 749147 h 749147"/>
              <a:gd name="connsiteX14" fmla="*/ 360802 w 732622"/>
              <a:gd name="connsiteY14" fmla="*/ 641733 h 749147"/>
              <a:gd name="connsiteX15" fmla="*/ 435166 w 732622"/>
              <a:gd name="connsiteY15" fmla="*/ 581140 h 749147"/>
              <a:gd name="connsiteX16" fmla="*/ 413132 w 732622"/>
              <a:gd name="connsiteY16" fmla="*/ 553598 h 749147"/>
              <a:gd name="connsiteX17" fmla="*/ 479234 w 732622"/>
              <a:gd name="connsiteY17" fmla="*/ 490251 h 749147"/>
              <a:gd name="connsiteX18" fmla="*/ 520547 w 732622"/>
              <a:gd name="connsiteY18" fmla="*/ 504022 h 749147"/>
              <a:gd name="connsiteX19" fmla="*/ 559106 w 732622"/>
              <a:gd name="connsiteY19" fmla="*/ 437921 h 749147"/>
              <a:gd name="connsiteX20" fmla="*/ 616944 w 732622"/>
              <a:gd name="connsiteY20" fmla="*/ 413133 h 749147"/>
              <a:gd name="connsiteX21" fmla="*/ 644487 w 732622"/>
              <a:gd name="connsiteY21" fmla="*/ 349786 h 749147"/>
              <a:gd name="connsiteX22" fmla="*/ 732622 w 732622"/>
              <a:gd name="connsiteY22" fmla="*/ 256143 h 749147"/>
              <a:gd name="connsiteX23" fmla="*/ 691308 w 732622"/>
              <a:gd name="connsiteY23" fmla="*/ 134957 h 749147"/>
              <a:gd name="connsiteX24" fmla="*/ 705079 w 732622"/>
              <a:gd name="connsiteY24" fmla="*/ 66102 h 749147"/>
              <a:gd name="connsiteX25" fmla="*/ 630716 w 732622"/>
              <a:gd name="connsiteY25" fmla="*/ 121186 h 749147"/>
              <a:gd name="connsiteX26" fmla="*/ 578385 w 732622"/>
              <a:gd name="connsiteY26" fmla="*/ 90890 h 749147"/>
              <a:gd name="connsiteX27" fmla="*/ 553597 w 732622"/>
              <a:gd name="connsiteY27" fmla="*/ 118432 h 749147"/>
              <a:gd name="connsiteX28" fmla="*/ 454446 w 732622"/>
              <a:gd name="connsiteY28" fmla="*/ 60593 h 749147"/>
              <a:gd name="connsiteX29" fmla="*/ 319489 w 732622"/>
              <a:gd name="connsiteY29" fmla="*/ 0 h 749147"/>
              <a:gd name="connsiteX30" fmla="*/ 209320 w 732622"/>
              <a:gd name="connsiteY30" fmla="*/ 16526 h 749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32622" h="749147">
                <a:moveTo>
                  <a:pt x="209320" y="16526"/>
                </a:moveTo>
                <a:lnTo>
                  <a:pt x="173516" y="90890"/>
                </a:lnTo>
                <a:lnTo>
                  <a:pt x="170761" y="140466"/>
                </a:lnTo>
                <a:lnTo>
                  <a:pt x="151482" y="168008"/>
                </a:lnTo>
                <a:lnTo>
                  <a:pt x="121185" y="225846"/>
                </a:lnTo>
                <a:lnTo>
                  <a:pt x="132202" y="275422"/>
                </a:lnTo>
                <a:lnTo>
                  <a:pt x="101906" y="308473"/>
                </a:lnTo>
                <a:lnTo>
                  <a:pt x="99152" y="352540"/>
                </a:lnTo>
                <a:lnTo>
                  <a:pt x="30296" y="418641"/>
                </a:lnTo>
                <a:lnTo>
                  <a:pt x="0" y="658258"/>
                </a:lnTo>
                <a:lnTo>
                  <a:pt x="88135" y="622454"/>
                </a:lnTo>
                <a:lnTo>
                  <a:pt x="192795" y="603174"/>
                </a:lnTo>
                <a:lnTo>
                  <a:pt x="228600" y="600420"/>
                </a:lnTo>
                <a:lnTo>
                  <a:pt x="319489" y="749147"/>
                </a:lnTo>
                <a:lnTo>
                  <a:pt x="360802" y="641733"/>
                </a:lnTo>
                <a:lnTo>
                  <a:pt x="435166" y="581140"/>
                </a:lnTo>
                <a:lnTo>
                  <a:pt x="413132" y="553598"/>
                </a:lnTo>
                <a:lnTo>
                  <a:pt x="479234" y="490251"/>
                </a:lnTo>
                <a:lnTo>
                  <a:pt x="520547" y="504022"/>
                </a:lnTo>
                <a:lnTo>
                  <a:pt x="559106" y="437921"/>
                </a:lnTo>
                <a:lnTo>
                  <a:pt x="616944" y="413133"/>
                </a:lnTo>
                <a:lnTo>
                  <a:pt x="644487" y="349786"/>
                </a:lnTo>
                <a:lnTo>
                  <a:pt x="732622" y="256143"/>
                </a:lnTo>
                <a:lnTo>
                  <a:pt x="691308" y="134957"/>
                </a:lnTo>
                <a:lnTo>
                  <a:pt x="705079" y="66102"/>
                </a:lnTo>
                <a:lnTo>
                  <a:pt x="630716" y="121186"/>
                </a:lnTo>
                <a:lnTo>
                  <a:pt x="578385" y="90890"/>
                </a:lnTo>
                <a:lnTo>
                  <a:pt x="553597" y="118432"/>
                </a:lnTo>
                <a:lnTo>
                  <a:pt x="454446" y="60593"/>
                </a:lnTo>
                <a:lnTo>
                  <a:pt x="319489" y="0"/>
                </a:lnTo>
                <a:lnTo>
                  <a:pt x="209320" y="16526"/>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53" name="Freeform 38"/>
          <p:cNvSpPr/>
          <p:nvPr/>
        </p:nvSpPr>
        <p:spPr bwMode="auto">
          <a:xfrm>
            <a:off x="6359525" y="2566988"/>
            <a:ext cx="536575" cy="668337"/>
          </a:xfrm>
          <a:custGeom>
            <a:avLst/>
            <a:gdLst>
              <a:gd name="connsiteX0" fmla="*/ 2754 w 437920"/>
              <a:gd name="connsiteY0" fmla="*/ 374573 h 542581"/>
              <a:gd name="connsiteX1" fmla="*/ 57839 w 437920"/>
              <a:gd name="connsiteY1" fmla="*/ 322243 h 542581"/>
              <a:gd name="connsiteX2" fmla="*/ 217583 w 437920"/>
              <a:gd name="connsiteY2" fmla="*/ 253388 h 542581"/>
              <a:gd name="connsiteX3" fmla="*/ 261651 w 437920"/>
              <a:gd name="connsiteY3" fmla="*/ 118431 h 542581"/>
              <a:gd name="connsiteX4" fmla="*/ 253388 w 437920"/>
              <a:gd name="connsiteY4" fmla="*/ 66101 h 542581"/>
              <a:gd name="connsiteX5" fmla="*/ 261651 w 437920"/>
              <a:gd name="connsiteY5" fmla="*/ 0 h 542581"/>
              <a:gd name="connsiteX6" fmla="*/ 363557 w 437920"/>
              <a:gd name="connsiteY6" fmla="*/ 8263 h 542581"/>
              <a:gd name="connsiteX7" fmla="*/ 429658 w 437920"/>
              <a:gd name="connsiteY7" fmla="*/ 96397 h 542581"/>
              <a:gd name="connsiteX8" fmla="*/ 402116 w 437920"/>
              <a:gd name="connsiteY8" fmla="*/ 121185 h 542581"/>
              <a:gd name="connsiteX9" fmla="*/ 437920 w 437920"/>
              <a:gd name="connsiteY9" fmla="*/ 225846 h 542581"/>
              <a:gd name="connsiteX10" fmla="*/ 385590 w 437920"/>
              <a:gd name="connsiteY10" fmla="*/ 333260 h 542581"/>
              <a:gd name="connsiteX11" fmla="*/ 349785 w 437920"/>
              <a:gd name="connsiteY11" fmla="*/ 363556 h 542581"/>
              <a:gd name="connsiteX12" fmla="*/ 275422 w 437920"/>
              <a:gd name="connsiteY12" fmla="*/ 404870 h 542581"/>
              <a:gd name="connsiteX13" fmla="*/ 223092 w 437920"/>
              <a:gd name="connsiteY13" fmla="*/ 459954 h 542581"/>
              <a:gd name="connsiteX14" fmla="*/ 170761 w 437920"/>
              <a:gd name="connsiteY14" fmla="*/ 459954 h 542581"/>
              <a:gd name="connsiteX15" fmla="*/ 41313 w 437920"/>
              <a:gd name="connsiteY15" fmla="*/ 542581 h 542581"/>
              <a:gd name="connsiteX16" fmla="*/ 0 w 437920"/>
              <a:gd name="connsiteY16" fmla="*/ 440675 h 542581"/>
              <a:gd name="connsiteX17" fmla="*/ 2754 w 437920"/>
              <a:gd name="connsiteY17" fmla="*/ 374573 h 54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7920" h="542581">
                <a:moveTo>
                  <a:pt x="2754" y="374573"/>
                </a:moveTo>
                <a:lnTo>
                  <a:pt x="57839" y="322243"/>
                </a:lnTo>
                <a:lnTo>
                  <a:pt x="217583" y="253388"/>
                </a:lnTo>
                <a:lnTo>
                  <a:pt x="261651" y="118431"/>
                </a:lnTo>
                <a:lnTo>
                  <a:pt x="253388" y="66101"/>
                </a:lnTo>
                <a:lnTo>
                  <a:pt x="261651" y="0"/>
                </a:lnTo>
                <a:lnTo>
                  <a:pt x="363557" y="8263"/>
                </a:lnTo>
                <a:lnTo>
                  <a:pt x="429658" y="96397"/>
                </a:lnTo>
                <a:lnTo>
                  <a:pt x="402116" y="121185"/>
                </a:lnTo>
                <a:lnTo>
                  <a:pt x="437920" y="225846"/>
                </a:lnTo>
                <a:lnTo>
                  <a:pt x="385590" y="333260"/>
                </a:lnTo>
                <a:lnTo>
                  <a:pt x="349785" y="363556"/>
                </a:lnTo>
                <a:lnTo>
                  <a:pt x="275422" y="404870"/>
                </a:lnTo>
                <a:lnTo>
                  <a:pt x="223092" y="459954"/>
                </a:lnTo>
                <a:lnTo>
                  <a:pt x="170761" y="459954"/>
                </a:lnTo>
                <a:lnTo>
                  <a:pt x="41313" y="542581"/>
                </a:lnTo>
                <a:lnTo>
                  <a:pt x="0" y="440675"/>
                </a:lnTo>
                <a:lnTo>
                  <a:pt x="2754" y="374573"/>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54" name="Freeform 39"/>
          <p:cNvSpPr/>
          <p:nvPr/>
        </p:nvSpPr>
        <p:spPr bwMode="auto">
          <a:xfrm>
            <a:off x="5248275" y="3670300"/>
            <a:ext cx="687388" cy="981075"/>
          </a:xfrm>
          <a:custGeom>
            <a:avLst/>
            <a:gdLst>
              <a:gd name="connsiteX0" fmla="*/ 203812 w 559106"/>
              <a:gd name="connsiteY0" fmla="*/ 55084 h 795968"/>
              <a:gd name="connsiteX1" fmla="*/ 159744 w 559106"/>
              <a:gd name="connsiteY1" fmla="*/ 187286 h 795968"/>
              <a:gd name="connsiteX2" fmla="*/ 99152 w 559106"/>
              <a:gd name="connsiteY2" fmla="*/ 291947 h 795968"/>
              <a:gd name="connsiteX3" fmla="*/ 46822 w 559106"/>
              <a:gd name="connsiteY3" fmla="*/ 313980 h 795968"/>
              <a:gd name="connsiteX4" fmla="*/ 0 w 559106"/>
              <a:gd name="connsiteY4" fmla="*/ 448937 h 795968"/>
              <a:gd name="connsiteX5" fmla="*/ 22034 w 559106"/>
              <a:gd name="connsiteY5" fmla="*/ 561860 h 795968"/>
              <a:gd name="connsiteX6" fmla="*/ 145973 w 559106"/>
              <a:gd name="connsiteY6" fmla="*/ 707833 h 795968"/>
              <a:gd name="connsiteX7" fmla="*/ 402115 w 559106"/>
              <a:gd name="connsiteY7" fmla="*/ 795968 h 795968"/>
              <a:gd name="connsiteX8" fmla="*/ 404870 w 559106"/>
              <a:gd name="connsiteY8" fmla="*/ 683045 h 795968"/>
              <a:gd name="connsiteX9" fmla="*/ 393853 w 559106"/>
              <a:gd name="connsiteY9" fmla="*/ 638978 h 795968"/>
              <a:gd name="connsiteX10" fmla="*/ 437920 w 559106"/>
              <a:gd name="connsiteY10" fmla="*/ 583894 h 795968"/>
              <a:gd name="connsiteX11" fmla="*/ 437920 w 559106"/>
              <a:gd name="connsiteY11" fmla="*/ 481988 h 795968"/>
              <a:gd name="connsiteX12" fmla="*/ 476479 w 559106"/>
              <a:gd name="connsiteY12" fmla="*/ 429657 h 795968"/>
              <a:gd name="connsiteX13" fmla="*/ 462708 w 559106"/>
              <a:gd name="connsiteY13" fmla="*/ 349785 h 795968"/>
              <a:gd name="connsiteX14" fmla="*/ 490250 w 559106"/>
              <a:gd name="connsiteY14" fmla="*/ 324997 h 795968"/>
              <a:gd name="connsiteX15" fmla="*/ 476479 w 559106"/>
              <a:gd name="connsiteY15" fmla="*/ 272667 h 795968"/>
              <a:gd name="connsiteX16" fmla="*/ 559106 w 559106"/>
              <a:gd name="connsiteY16" fmla="*/ 236862 h 795968"/>
              <a:gd name="connsiteX17" fmla="*/ 528809 w 559106"/>
              <a:gd name="connsiteY17" fmla="*/ 195549 h 795968"/>
              <a:gd name="connsiteX18" fmla="*/ 548089 w 559106"/>
              <a:gd name="connsiteY18" fmla="*/ 168007 h 795968"/>
              <a:gd name="connsiteX19" fmla="*/ 512284 w 559106"/>
              <a:gd name="connsiteY19" fmla="*/ 134956 h 795968"/>
              <a:gd name="connsiteX20" fmla="*/ 415887 w 559106"/>
              <a:gd name="connsiteY20" fmla="*/ 0 h 795968"/>
              <a:gd name="connsiteX21" fmla="*/ 203812 w 559106"/>
              <a:gd name="connsiteY21" fmla="*/ 55084 h 79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9106" h="795968">
                <a:moveTo>
                  <a:pt x="203812" y="55084"/>
                </a:moveTo>
                <a:lnTo>
                  <a:pt x="159744" y="187286"/>
                </a:lnTo>
                <a:lnTo>
                  <a:pt x="99152" y="291947"/>
                </a:lnTo>
                <a:lnTo>
                  <a:pt x="46822" y="313980"/>
                </a:lnTo>
                <a:lnTo>
                  <a:pt x="0" y="448937"/>
                </a:lnTo>
                <a:lnTo>
                  <a:pt x="22034" y="561860"/>
                </a:lnTo>
                <a:lnTo>
                  <a:pt x="145973" y="707833"/>
                </a:lnTo>
                <a:lnTo>
                  <a:pt x="402115" y="795968"/>
                </a:lnTo>
                <a:cubicBezTo>
                  <a:pt x="403033" y="758327"/>
                  <a:pt x="403952" y="720686"/>
                  <a:pt x="404870" y="683045"/>
                </a:cubicBezTo>
                <a:lnTo>
                  <a:pt x="393853" y="638978"/>
                </a:lnTo>
                <a:lnTo>
                  <a:pt x="437920" y="583894"/>
                </a:lnTo>
                <a:lnTo>
                  <a:pt x="437920" y="481988"/>
                </a:lnTo>
                <a:lnTo>
                  <a:pt x="476479" y="429657"/>
                </a:lnTo>
                <a:lnTo>
                  <a:pt x="462708" y="349785"/>
                </a:lnTo>
                <a:lnTo>
                  <a:pt x="490250" y="324997"/>
                </a:lnTo>
                <a:lnTo>
                  <a:pt x="476479" y="272667"/>
                </a:lnTo>
                <a:lnTo>
                  <a:pt x="559106" y="236862"/>
                </a:lnTo>
                <a:lnTo>
                  <a:pt x="528809" y="195549"/>
                </a:lnTo>
                <a:lnTo>
                  <a:pt x="548089" y="168007"/>
                </a:lnTo>
                <a:lnTo>
                  <a:pt x="512284" y="134956"/>
                </a:lnTo>
                <a:lnTo>
                  <a:pt x="415887" y="0"/>
                </a:lnTo>
                <a:lnTo>
                  <a:pt x="203812" y="55084"/>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55" name="Freeform 40"/>
          <p:cNvSpPr/>
          <p:nvPr/>
        </p:nvSpPr>
        <p:spPr bwMode="auto">
          <a:xfrm>
            <a:off x="4826000" y="3133725"/>
            <a:ext cx="842963" cy="1574800"/>
          </a:xfrm>
          <a:custGeom>
            <a:avLst/>
            <a:gdLst>
              <a:gd name="connsiteX0" fmla="*/ 223091 w 685800"/>
              <a:gd name="connsiteY0" fmla="*/ 0 h 1280711"/>
              <a:gd name="connsiteX1" fmla="*/ 140465 w 685800"/>
              <a:gd name="connsiteY1" fmla="*/ 451692 h 1280711"/>
              <a:gd name="connsiteX2" fmla="*/ 107414 w 685800"/>
              <a:gd name="connsiteY2" fmla="*/ 468217 h 1280711"/>
              <a:gd name="connsiteX3" fmla="*/ 187287 w 685800"/>
              <a:gd name="connsiteY3" fmla="*/ 586648 h 1280711"/>
              <a:gd name="connsiteX4" fmla="*/ 118431 w 685800"/>
              <a:gd name="connsiteY4" fmla="*/ 762918 h 1280711"/>
              <a:gd name="connsiteX5" fmla="*/ 145973 w 685800"/>
              <a:gd name="connsiteY5" fmla="*/ 795969 h 1280711"/>
              <a:gd name="connsiteX6" fmla="*/ 112923 w 685800"/>
              <a:gd name="connsiteY6" fmla="*/ 820757 h 1280711"/>
              <a:gd name="connsiteX7" fmla="*/ 201058 w 685800"/>
              <a:gd name="connsiteY7" fmla="*/ 991518 h 1280711"/>
              <a:gd name="connsiteX8" fmla="*/ 0 w 685800"/>
              <a:gd name="connsiteY8" fmla="*/ 1264186 h 1280711"/>
              <a:gd name="connsiteX9" fmla="*/ 212075 w 685800"/>
              <a:gd name="connsiteY9" fmla="*/ 1280711 h 1280711"/>
              <a:gd name="connsiteX10" fmla="*/ 366311 w 685800"/>
              <a:gd name="connsiteY10" fmla="*/ 1096178 h 1280711"/>
              <a:gd name="connsiteX11" fmla="*/ 415887 w 685800"/>
              <a:gd name="connsiteY11" fmla="*/ 1098933 h 1280711"/>
              <a:gd name="connsiteX12" fmla="*/ 443429 w 685800"/>
              <a:gd name="connsiteY12" fmla="*/ 1096178 h 1280711"/>
              <a:gd name="connsiteX13" fmla="*/ 355294 w 685800"/>
              <a:gd name="connsiteY13" fmla="*/ 1002535 h 1280711"/>
              <a:gd name="connsiteX14" fmla="*/ 344277 w 685800"/>
              <a:gd name="connsiteY14" fmla="*/ 892366 h 1280711"/>
              <a:gd name="connsiteX15" fmla="*/ 385590 w 685800"/>
              <a:gd name="connsiteY15" fmla="*/ 743639 h 1280711"/>
              <a:gd name="connsiteX16" fmla="*/ 448937 w 685800"/>
              <a:gd name="connsiteY16" fmla="*/ 729868 h 1280711"/>
              <a:gd name="connsiteX17" fmla="*/ 550843 w 685800"/>
              <a:gd name="connsiteY17" fmla="*/ 490251 h 1280711"/>
              <a:gd name="connsiteX18" fmla="*/ 583894 w 685800"/>
              <a:gd name="connsiteY18" fmla="*/ 245125 h 1280711"/>
              <a:gd name="connsiteX19" fmla="*/ 638978 w 685800"/>
              <a:gd name="connsiteY19" fmla="*/ 201058 h 1280711"/>
              <a:gd name="connsiteX20" fmla="*/ 647241 w 685800"/>
              <a:gd name="connsiteY20" fmla="*/ 148728 h 1280711"/>
              <a:gd name="connsiteX21" fmla="*/ 677537 w 685800"/>
              <a:gd name="connsiteY21" fmla="*/ 99152 h 1280711"/>
              <a:gd name="connsiteX22" fmla="*/ 666520 w 685800"/>
              <a:gd name="connsiteY22" fmla="*/ 55084 h 1280711"/>
              <a:gd name="connsiteX23" fmla="*/ 685800 w 685800"/>
              <a:gd name="connsiteY23" fmla="*/ 16525 h 1280711"/>
              <a:gd name="connsiteX24" fmla="*/ 223091 w 685800"/>
              <a:gd name="connsiteY24" fmla="*/ 0 h 128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800" h="1280711">
                <a:moveTo>
                  <a:pt x="223091" y="0"/>
                </a:moveTo>
                <a:lnTo>
                  <a:pt x="140465" y="451692"/>
                </a:lnTo>
                <a:lnTo>
                  <a:pt x="107414" y="468217"/>
                </a:lnTo>
                <a:lnTo>
                  <a:pt x="187287" y="586648"/>
                </a:lnTo>
                <a:lnTo>
                  <a:pt x="118431" y="762918"/>
                </a:lnTo>
                <a:lnTo>
                  <a:pt x="145973" y="795969"/>
                </a:lnTo>
                <a:lnTo>
                  <a:pt x="112923" y="820757"/>
                </a:lnTo>
                <a:lnTo>
                  <a:pt x="201058" y="991518"/>
                </a:lnTo>
                <a:lnTo>
                  <a:pt x="0" y="1264186"/>
                </a:lnTo>
                <a:lnTo>
                  <a:pt x="212075" y="1280711"/>
                </a:lnTo>
                <a:lnTo>
                  <a:pt x="366311" y="1096178"/>
                </a:lnTo>
                <a:lnTo>
                  <a:pt x="415887" y="1098933"/>
                </a:lnTo>
                <a:lnTo>
                  <a:pt x="443429" y="1096178"/>
                </a:lnTo>
                <a:lnTo>
                  <a:pt x="355294" y="1002535"/>
                </a:lnTo>
                <a:lnTo>
                  <a:pt x="344277" y="892366"/>
                </a:lnTo>
                <a:lnTo>
                  <a:pt x="385590" y="743639"/>
                </a:lnTo>
                <a:lnTo>
                  <a:pt x="448937" y="729868"/>
                </a:lnTo>
                <a:lnTo>
                  <a:pt x="550843" y="490251"/>
                </a:lnTo>
                <a:lnTo>
                  <a:pt x="583894" y="245125"/>
                </a:lnTo>
                <a:lnTo>
                  <a:pt x="638978" y="201058"/>
                </a:lnTo>
                <a:lnTo>
                  <a:pt x="647241" y="148728"/>
                </a:lnTo>
                <a:lnTo>
                  <a:pt x="677537" y="99152"/>
                </a:lnTo>
                <a:lnTo>
                  <a:pt x="666520" y="55084"/>
                </a:lnTo>
                <a:lnTo>
                  <a:pt x="685800" y="16525"/>
                </a:lnTo>
                <a:lnTo>
                  <a:pt x="223091"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31763" name="Text Box 11"/>
          <p:cNvSpPr txBox="1">
            <a:spLocks noChangeArrowheads="1"/>
          </p:cNvSpPr>
          <p:nvPr/>
        </p:nvSpPr>
        <p:spPr bwMode="auto">
          <a:xfrm>
            <a:off x="682625" y="1966913"/>
            <a:ext cx="1930400" cy="438150"/>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lnSpc>
                <a:spcPct val="80000"/>
              </a:lnSpc>
              <a:defRPr/>
            </a:pPr>
            <a:r>
              <a:rPr lang="es-ES_tradnl" altLang="es-ES_tradnl" sz="1400" dirty="0">
                <a:solidFill>
                  <a:schemeClr val="tx1"/>
                </a:solidFill>
                <a:latin typeface="+mn-lt"/>
              </a:rPr>
              <a:t>Universidad Nacional del Tucumán</a:t>
            </a:r>
          </a:p>
        </p:txBody>
      </p:sp>
      <p:sp>
        <p:nvSpPr>
          <p:cNvPr id="31764" name="Line 6"/>
          <p:cNvSpPr>
            <a:spLocks noChangeShapeType="1"/>
          </p:cNvSpPr>
          <p:nvPr/>
        </p:nvSpPr>
        <p:spPr bwMode="auto">
          <a:xfrm>
            <a:off x="2317750" y="2198688"/>
            <a:ext cx="1970088" cy="736600"/>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1765" name="Text Box 11"/>
          <p:cNvSpPr txBox="1">
            <a:spLocks noChangeArrowheads="1"/>
          </p:cNvSpPr>
          <p:nvPr/>
        </p:nvSpPr>
        <p:spPr bwMode="auto">
          <a:xfrm>
            <a:off x="7543800" y="1978025"/>
            <a:ext cx="2184400" cy="436563"/>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lnSpc>
                <a:spcPct val="80000"/>
              </a:lnSpc>
              <a:defRPr/>
            </a:pPr>
            <a:r>
              <a:rPr lang="es-ES_tradnl" altLang="es-ES_tradnl" sz="1400">
                <a:solidFill>
                  <a:schemeClr val="tx1"/>
                </a:solidFill>
                <a:latin typeface="+mn-lt"/>
              </a:rPr>
              <a:t>Universidad Nacional del Litoral - Santa Fe</a:t>
            </a:r>
          </a:p>
        </p:txBody>
      </p:sp>
      <p:sp>
        <p:nvSpPr>
          <p:cNvPr id="31766" name="Line 6"/>
          <p:cNvSpPr>
            <a:spLocks noChangeShapeType="1"/>
          </p:cNvSpPr>
          <p:nvPr/>
        </p:nvSpPr>
        <p:spPr bwMode="auto">
          <a:xfrm flipH="1">
            <a:off x="5359400" y="2203450"/>
            <a:ext cx="2235200" cy="1789113"/>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1767" name="Line 6"/>
          <p:cNvSpPr>
            <a:spLocks noChangeShapeType="1"/>
          </p:cNvSpPr>
          <p:nvPr/>
        </p:nvSpPr>
        <p:spPr bwMode="auto">
          <a:xfrm flipH="1">
            <a:off x="5359400" y="3992563"/>
            <a:ext cx="2235200" cy="84137"/>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1768" name="Text Box 11"/>
          <p:cNvSpPr txBox="1">
            <a:spLocks noChangeArrowheads="1"/>
          </p:cNvSpPr>
          <p:nvPr/>
        </p:nvSpPr>
        <p:spPr bwMode="auto">
          <a:xfrm>
            <a:off x="7597775" y="3857625"/>
            <a:ext cx="2184400" cy="438150"/>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lnSpc>
                <a:spcPct val="80000"/>
              </a:lnSpc>
              <a:defRPr/>
            </a:pPr>
            <a:r>
              <a:rPr lang="es-ES" altLang="es-ES_tradnl" sz="1400">
                <a:solidFill>
                  <a:schemeClr val="tx1"/>
                </a:solidFill>
                <a:latin typeface="+mn-lt"/>
              </a:rPr>
              <a:t>Universidad Nacional de Entre Ríos</a:t>
            </a:r>
            <a:endParaRPr lang="es-ES_tradnl" altLang="es-ES_tradnl" sz="1400">
              <a:solidFill>
                <a:schemeClr val="tx1"/>
              </a:solidFill>
              <a:latin typeface="+mn-lt"/>
            </a:endParaRPr>
          </a:p>
        </p:txBody>
      </p:sp>
      <p:sp>
        <p:nvSpPr>
          <p:cNvPr id="31749" name="Text Box 11"/>
          <p:cNvSpPr txBox="1">
            <a:spLocks noChangeArrowheads="1"/>
          </p:cNvSpPr>
          <p:nvPr/>
        </p:nvSpPr>
        <p:spPr bwMode="auto">
          <a:xfrm>
            <a:off x="863600" y="2981325"/>
            <a:ext cx="1862138" cy="436563"/>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lnSpc>
                <a:spcPct val="80000"/>
              </a:lnSpc>
              <a:defRPr/>
            </a:pPr>
            <a:r>
              <a:rPr lang="es-ES_tradnl" altLang="es-ES_tradnl" sz="1400" dirty="0">
                <a:solidFill>
                  <a:schemeClr val="tx1"/>
                </a:solidFill>
                <a:latin typeface="+mn-lt"/>
              </a:rPr>
              <a:t>Universidad Nacional de Catamarca</a:t>
            </a:r>
          </a:p>
        </p:txBody>
      </p:sp>
      <p:cxnSp>
        <p:nvCxnSpPr>
          <p:cNvPr id="30741" name="28 Conector recto de flecha"/>
          <p:cNvCxnSpPr>
            <a:cxnSpLocks noChangeShapeType="1"/>
          </p:cNvCxnSpPr>
          <p:nvPr/>
        </p:nvCxnSpPr>
        <p:spPr bwMode="auto">
          <a:xfrm flipH="1">
            <a:off x="2598738" y="3043238"/>
            <a:ext cx="1293812" cy="157162"/>
          </a:xfrm>
          <a:prstGeom prst="straightConnector1">
            <a:avLst/>
          </a:prstGeom>
          <a:noFill/>
          <a:ln w="9525" algn="ctr">
            <a:solidFill>
              <a:schemeClr val="tx1"/>
            </a:solidFill>
            <a:round/>
            <a:headEnd/>
            <a:tailEnd type="arrow" w="med" len="med"/>
          </a:ln>
          <a:extLst>
            <a:ext uri="{909E8E84-426E-40DD-AFC4-6F175D3DCCD1}">
              <a14:hiddenFill xmlns="" xmlns:a14="http://schemas.microsoft.com/office/drawing/2010/main">
                <a:noFill/>
              </a14:hiddenFill>
            </a:ext>
          </a:extLst>
        </p:spPr>
      </p:cxnSp>
      <p:sp>
        <p:nvSpPr>
          <p:cNvPr id="30742"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6A53695C-A3AD-4F95-A990-E786A47ACF57}" type="slidenum">
              <a:rPr lang="es-ES_tradnl" altLang="es-AR" sz="1000" i="1">
                <a:solidFill>
                  <a:srgbClr val="000000"/>
                </a:solidFill>
                <a:latin typeface="Verdana" panose="020B0604030504040204" pitchFamily="34" charset="0"/>
              </a:rPr>
              <a:pPr algn="r" eaLnBrk="1" hangingPunct="1">
                <a:spcBef>
                  <a:spcPct val="0"/>
                </a:spcBef>
                <a:buFontTx/>
                <a:buNone/>
              </a:pPr>
              <a:t>28</a:t>
            </a:fld>
            <a:endParaRPr lang="es-ES_tradnl" altLang="es-AR" sz="1000" i="1">
              <a:solidFill>
                <a:srgbClr val="000000"/>
              </a:solidFill>
              <a:latin typeface="Verdana" panose="020B0604030504040204" pitchFamily="34" charset="0"/>
            </a:endParaRPr>
          </a:p>
        </p:txBody>
      </p:sp>
      <p:sp>
        <p:nvSpPr>
          <p:cNvPr id="26" name="Rectangle 4"/>
          <p:cNvSpPr txBox="1">
            <a:spLocks noChangeArrowheads="1"/>
          </p:cNvSpPr>
          <p:nvPr/>
        </p:nvSpPr>
        <p:spPr bwMode="auto">
          <a:xfrm>
            <a:off x="0" y="274638"/>
            <a:ext cx="8915400" cy="768350"/>
          </a:xfrm>
          <a:prstGeom prst="rect">
            <a:avLst/>
          </a:prstGeom>
          <a:noFill/>
          <a:ln>
            <a:noFill/>
          </a:ln>
          <a:extLst/>
        </p:spPr>
        <p:txBody>
          <a:bodyPr anchor="ctr"/>
          <a:lstStyle>
            <a:lvl1pPr algn="ctr" rtl="0" eaLnBrk="0" fontAlgn="base" hangingPunct="0">
              <a:spcBef>
                <a:spcPct val="0"/>
              </a:spcBef>
              <a:spcAft>
                <a:spcPct val="0"/>
              </a:spcAft>
              <a:defRPr sz="4400" b="1" kern="1200">
                <a:solidFill>
                  <a:schemeClr val="tx1"/>
                </a:solidFill>
                <a:latin typeface="Baskerville Old Face" pitchFamily="18" charset="0"/>
                <a:ea typeface="+mj-ea"/>
                <a:cs typeface="+mj-cs"/>
              </a:defRPr>
            </a:lvl1pPr>
            <a:lvl2pPr algn="ctr" rtl="0" eaLnBrk="0" fontAlgn="base" hangingPunct="0">
              <a:spcBef>
                <a:spcPct val="0"/>
              </a:spcBef>
              <a:spcAft>
                <a:spcPct val="0"/>
              </a:spcAft>
              <a:defRPr sz="4400" b="1">
                <a:solidFill>
                  <a:schemeClr val="tx1"/>
                </a:solidFill>
                <a:latin typeface="Baskerville Old Face" pitchFamily="18" charset="0"/>
              </a:defRPr>
            </a:lvl2pPr>
            <a:lvl3pPr algn="ctr" rtl="0" eaLnBrk="0" fontAlgn="base" hangingPunct="0">
              <a:spcBef>
                <a:spcPct val="0"/>
              </a:spcBef>
              <a:spcAft>
                <a:spcPct val="0"/>
              </a:spcAft>
              <a:defRPr sz="4400" b="1">
                <a:solidFill>
                  <a:schemeClr val="tx1"/>
                </a:solidFill>
                <a:latin typeface="Baskerville Old Face" pitchFamily="18" charset="0"/>
              </a:defRPr>
            </a:lvl3pPr>
            <a:lvl4pPr algn="ctr" rtl="0" eaLnBrk="0" fontAlgn="base" hangingPunct="0">
              <a:spcBef>
                <a:spcPct val="0"/>
              </a:spcBef>
              <a:spcAft>
                <a:spcPct val="0"/>
              </a:spcAft>
              <a:defRPr sz="4400" b="1">
                <a:solidFill>
                  <a:schemeClr val="tx1"/>
                </a:solidFill>
                <a:latin typeface="Baskerville Old Face" pitchFamily="18" charset="0"/>
              </a:defRPr>
            </a:lvl4pPr>
            <a:lvl5pPr algn="ctr" rtl="0" eaLnBrk="0" fontAlgn="base" hangingPunct="0">
              <a:spcBef>
                <a:spcPct val="0"/>
              </a:spcBef>
              <a:spcAft>
                <a:spcPct val="0"/>
              </a:spcAft>
              <a:defRPr sz="4400" b="1">
                <a:solidFill>
                  <a:schemeClr val="tx1"/>
                </a:solidFill>
                <a:latin typeface="Baskerville Old Face" pitchFamily="18" charset="0"/>
              </a:defRPr>
            </a:lvl5pPr>
            <a:lvl6pPr marL="457200" algn="ctr" rtl="0" eaLnBrk="1" fontAlgn="base" hangingPunct="1">
              <a:spcBef>
                <a:spcPct val="0"/>
              </a:spcBef>
              <a:spcAft>
                <a:spcPct val="0"/>
              </a:spcAft>
              <a:defRPr sz="4400" b="1">
                <a:solidFill>
                  <a:schemeClr val="tx1"/>
                </a:solidFill>
                <a:latin typeface="Baskerville Old Face" pitchFamily="18" charset="0"/>
              </a:defRPr>
            </a:lvl6pPr>
            <a:lvl7pPr marL="914400" algn="ctr" rtl="0" eaLnBrk="1" fontAlgn="base" hangingPunct="1">
              <a:spcBef>
                <a:spcPct val="0"/>
              </a:spcBef>
              <a:spcAft>
                <a:spcPct val="0"/>
              </a:spcAft>
              <a:defRPr sz="4400" b="1">
                <a:solidFill>
                  <a:schemeClr val="tx1"/>
                </a:solidFill>
                <a:latin typeface="Baskerville Old Face" pitchFamily="18" charset="0"/>
              </a:defRPr>
            </a:lvl7pPr>
            <a:lvl8pPr marL="1371600" algn="ctr" rtl="0" eaLnBrk="1" fontAlgn="base" hangingPunct="1">
              <a:spcBef>
                <a:spcPct val="0"/>
              </a:spcBef>
              <a:spcAft>
                <a:spcPct val="0"/>
              </a:spcAft>
              <a:defRPr sz="4400" b="1">
                <a:solidFill>
                  <a:schemeClr val="tx1"/>
                </a:solidFill>
                <a:latin typeface="Baskerville Old Face" pitchFamily="18" charset="0"/>
              </a:defRPr>
            </a:lvl8pPr>
            <a:lvl9pPr marL="1828800" algn="ctr" rtl="0" eaLnBrk="1" fontAlgn="base" hangingPunct="1">
              <a:spcBef>
                <a:spcPct val="0"/>
              </a:spcBef>
              <a:spcAft>
                <a:spcPct val="0"/>
              </a:spcAft>
              <a:defRPr sz="4400" b="1">
                <a:solidFill>
                  <a:schemeClr val="tx1"/>
                </a:solidFill>
                <a:latin typeface="Baskerville Old Face" pitchFamily="18" charset="0"/>
              </a:defRPr>
            </a:lvl9pPr>
          </a:lstStyle>
          <a:p>
            <a:pPr>
              <a:defRPr/>
            </a:pPr>
            <a:r>
              <a:rPr lang="es-AR" altLang="es-ES_tradnl" sz="4000" dirty="0">
                <a:solidFill>
                  <a:srgbClr val="000066"/>
                </a:solidFill>
                <a:latin typeface="+mj-lt"/>
              </a:rPr>
              <a:t>Sedes del CELU en Argentina</a:t>
            </a:r>
            <a:br>
              <a:rPr lang="es-AR" altLang="es-ES_tradnl" sz="4000" dirty="0">
                <a:solidFill>
                  <a:srgbClr val="000066"/>
                </a:solidFill>
                <a:latin typeface="+mj-lt"/>
              </a:rPr>
            </a:br>
            <a:r>
              <a:rPr lang="es-AR" altLang="es-ES_tradnl" sz="4000" dirty="0">
                <a:solidFill>
                  <a:srgbClr val="000066"/>
                </a:solidFill>
                <a:latin typeface="+mj-lt"/>
              </a:rPr>
              <a:t>Región Norte</a:t>
            </a:r>
            <a:endParaRPr lang="es-ES" altLang="es-ES_tradnl" sz="4000" dirty="0">
              <a:solidFill>
                <a:srgbClr val="000066"/>
              </a:solidFill>
              <a:latin typeface="+mj-lt"/>
            </a:endParaRPr>
          </a:p>
        </p:txBody>
      </p:sp>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Box 21"/>
          <p:cNvSpPr txBox="1">
            <a:spLocks noChangeArrowheads="1"/>
          </p:cNvSpPr>
          <p:nvPr/>
        </p:nvSpPr>
        <p:spPr bwMode="auto">
          <a:xfrm>
            <a:off x="7481888" y="5018088"/>
            <a:ext cx="2168525" cy="436562"/>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lnSpc>
                <a:spcPct val="80000"/>
              </a:lnSpc>
              <a:defRPr/>
            </a:pPr>
            <a:r>
              <a:rPr lang="es-ES_tradnl" altLang="es-ES_tradnl" sz="1400">
                <a:solidFill>
                  <a:schemeClr val="tx1"/>
                </a:solidFill>
                <a:latin typeface="+mn-lt"/>
              </a:rPr>
              <a:t>Universidad Nacional de Mar del Plata</a:t>
            </a:r>
          </a:p>
        </p:txBody>
      </p:sp>
      <p:sp>
        <p:nvSpPr>
          <p:cNvPr id="32771" name="Text Box 23"/>
          <p:cNvSpPr txBox="1">
            <a:spLocks noChangeArrowheads="1"/>
          </p:cNvSpPr>
          <p:nvPr/>
        </p:nvSpPr>
        <p:spPr bwMode="auto">
          <a:xfrm>
            <a:off x="5422900" y="1395413"/>
            <a:ext cx="2100263"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1400" dirty="0">
                <a:solidFill>
                  <a:schemeClr val="tx1"/>
                </a:solidFill>
                <a:latin typeface="+mn-lt"/>
              </a:rPr>
              <a:t>Universidad Nacional de Gral. San Martín</a:t>
            </a:r>
          </a:p>
        </p:txBody>
      </p:sp>
      <p:sp>
        <p:nvSpPr>
          <p:cNvPr id="32772" name="Text Box 24"/>
          <p:cNvSpPr txBox="1">
            <a:spLocks noChangeArrowheads="1"/>
          </p:cNvSpPr>
          <p:nvPr/>
        </p:nvSpPr>
        <p:spPr bwMode="auto">
          <a:xfrm>
            <a:off x="7453313" y="2701925"/>
            <a:ext cx="1987550"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1400" dirty="0">
                <a:solidFill>
                  <a:schemeClr val="tx1"/>
                </a:solidFill>
                <a:latin typeface="+mn-lt"/>
              </a:rPr>
              <a:t>Universidad Nacional de La Plata</a:t>
            </a:r>
          </a:p>
        </p:txBody>
      </p:sp>
      <p:sp>
        <p:nvSpPr>
          <p:cNvPr id="32773" name="Text Box 9"/>
          <p:cNvSpPr txBox="1">
            <a:spLocks noChangeArrowheads="1"/>
          </p:cNvSpPr>
          <p:nvPr/>
        </p:nvSpPr>
        <p:spPr bwMode="auto">
          <a:xfrm>
            <a:off x="6507163" y="5635625"/>
            <a:ext cx="2589212"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1400">
                <a:solidFill>
                  <a:schemeClr val="tx1"/>
                </a:solidFill>
                <a:latin typeface="+mn-lt"/>
              </a:rPr>
              <a:t>Universidad Nacional del Centro de la Prov. de Buenos Aires</a:t>
            </a:r>
            <a:endParaRPr lang="es-ES_tradnl" altLang="es-ES_tradnl" sz="1400">
              <a:solidFill>
                <a:schemeClr val="tx1"/>
              </a:solidFill>
              <a:latin typeface="+mn-lt"/>
              <a:cs typeface="Times New Roman" pitchFamily="18" charset="0"/>
            </a:endParaRPr>
          </a:p>
        </p:txBody>
      </p:sp>
      <p:sp>
        <p:nvSpPr>
          <p:cNvPr id="32774" name="Text Box 21"/>
          <p:cNvSpPr txBox="1">
            <a:spLocks noChangeArrowheads="1"/>
          </p:cNvSpPr>
          <p:nvPr/>
        </p:nvSpPr>
        <p:spPr bwMode="auto">
          <a:xfrm>
            <a:off x="4338638" y="5918200"/>
            <a:ext cx="2168525" cy="436563"/>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lnSpc>
                <a:spcPct val="80000"/>
              </a:lnSpc>
              <a:defRPr/>
            </a:pPr>
            <a:r>
              <a:rPr lang="es-ES_tradnl" altLang="es-ES_tradnl" sz="1400">
                <a:solidFill>
                  <a:schemeClr val="tx1"/>
                </a:solidFill>
                <a:latin typeface="+mn-lt"/>
              </a:rPr>
              <a:t>Universidad Nacional del Sur</a:t>
            </a:r>
          </a:p>
        </p:txBody>
      </p:sp>
      <p:sp>
        <p:nvSpPr>
          <p:cNvPr id="32775" name="Text Box 24"/>
          <p:cNvSpPr txBox="1">
            <a:spLocks noChangeArrowheads="1"/>
          </p:cNvSpPr>
          <p:nvPr/>
        </p:nvSpPr>
        <p:spPr bwMode="auto">
          <a:xfrm>
            <a:off x="7378700" y="4103688"/>
            <a:ext cx="2271713"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1400" dirty="0">
                <a:solidFill>
                  <a:schemeClr val="tx1"/>
                </a:solidFill>
                <a:latin typeface="+mn-lt"/>
              </a:rPr>
              <a:t>Universidad Nacional del Noroeste de Buenos Aires</a:t>
            </a:r>
          </a:p>
        </p:txBody>
      </p:sp>
      <p:sp>
        <p:nvSpPr>
          <p:cNvPr id="32776" name="Text Box 4"/>
          <p:cNvSpPr txBox="1">
            <a:spLocks noChangeArrowheads="1"/>
          </p:cNvSpPr>
          <p:nvPr/>
        </p:nvSpPr>
        <p:spPr bwMode="auto">
          <a:xfrm>
            <a:off x="7634288" y="2033588"/>
            <a:ext cx="2271712"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1400">
                <a:solidFill>
                  <a:schemeClr val="tx1"/>
                </a:solidFill>
                <a:latin typeface="+mn-lt"/>
              </a:rPr>
              <a:t>Universidad Nacional de General Sarmiento</a:t>
            </a:r>
          </a:p>
        </p:txBody>
      </p:sp>
      <p:sp>
        <p:nvSpPr>
          <p:cNvPr id="32779" name="Text Box 10"/>
          <p:cNvSpPr txBox="1">
            <a:spLocks noChangeArrowheads="1"/>
          </p:cNvSpPr>
          <p:nvPr/>
        </p:nvSpPr>
        <p:spPr bwMode="auto">
          <a:xfrm>
            <a:off x="392113" y="1652588"/>
            <a:ext cx="2305050" cy="436562"/>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lnSpc>
                <a:spcPct val="80000"/>
              </a:lnSpc>
              <a:defRPr/>
            </a:pPr>
            <a:r>
              <a:rPr lang="es-ES_tradnl" altLang="es-ES_tradnl" sz="1400">
                <a:solidFill>
                  <a:schemeClr val="tx1"/>
                </a:solidFill>
                <a:latin typeface="+mn-lt"/>
              </a:rPr>
              <a:t>Universidad Nacional de San Juan</a:t>
            </a:r>
          </a:p>
        </p:txBody>
      </p:sp>
      <p:sp>
        <p:nvSpPr>
          <p:cNvPr id="32780" name="Rectangle 26"/>
          <p:cNvSpPr>
            <a:spLocks noChangeArrowheads="1"/>
          </p:cNvSpPr>
          <p:nvPr/>
        </p:nvSpPr>
        <p:spPr bwMode="auto">
          <a:xfrm>
            <a:off x="458788" y="5156200"/>
            <a:ext cx="2641600" cy="436563"/>
          </a:xfrm>
          <a:prstGeom prst="rect">
            <a:avLst/>
          </a:prstGeom>
          <a:noFill/>
          <a:ln>
            <a:noFill/>
          </a:ln>
          <a:extLst/>
        </p:spPr>
        <p:txBody>
          <a:bodyPr>
            <a:spAutoFit/>
          </a:bodyPr>
          <a:lstStyle/>
          <a:p>
            <a:pPr eaLnBrk="0" hangingPunct="0">
              <a:lnSpc>
                <a:spcPct val="80000"/>
              </a:lnSpc>
              <a:defRPr/>
            </a:pPr>
            <a:r>
              <a:rPr lang="es-ES_tradnl" altLang="es-ES_tradnl" sz="1400" dirty="0">
                <a:solidFill>
                  <a:schemeClr val="tx1"/>
                </a:solidFill>
                <a:latin typeface="+mn-lt"/>
                <a:cs typeface="Arial" charset="0"/>
              </a:rPr>
              <a:t>Universidad Nacional    </a:t>
            </a:r>
          </a:p>
          <a:p>
            <a:pPr eaLnBrk="0" hangingPunct="0">
              <a:lnSpc>
                <a:spcPct val="80000"/>
              </a:lnSpc>
              <a:defRPr/>
            </a:pPr>
            <a:r>
              <a:rPr lang="es-ES_tradnl" altLang="es-ES_tradnl" sz="1400" dirty="0">
                <a:solidFill>
                  <a:schemeClr val="tx1"/>
                </a:solidFill>
                <a:latin typeface="+mn-lt"/>
                <a:cs typeface="Arial" charset="0"/>
              </a:rPr>
              <a:t>       de Río Cuarto</a:t>
            </a:r>
          </a:p>
        </p:txBody>
      </p:sp>
      <p:sp>
        <p:nvSpPr>
          <p:cNvPr id="32781" name="Rectangle 7"/>
          <p:cNvSpPr>
            <a:spLocks noChangeArrowheads="1"/>
          </p:cNvSpPr>
          <p:nvPr/>
        </p:nvSpPr>
        <p:spPr bwMode="auto">
          <a:xfrm>
            <a:off x="104775" y="3290888"/>
            <a:ext cx="2127250" cy="523875"/>
          </a:xfrm>
          <a:prstGeom prst="rect">
            <a:avLst/>
          </a:prstGeom>
          <a:noFill/>
          <a:ln>
            <a:noFill/>
          </a:ln>
          <a:extLst/>
        </p:spPr>
        <p:txBody>
          <a:bodyPr>
            <a:spAutoFit/>
          </a:bodyPr>
          <a:lstStyle/>
          <a:p>
            <a:pPr algn="ctr">
              <a:spcBef>
                <a:spcPct val="40000"/>
              </a:spcBef>
              <a:defRPr/>
            </a:pPr>
            <a:r>
              <a:rPr lang="es-ES" altLang="es-ES_tradnl" sz="1400">
                <a:solidFill>
                  <a:schemeClr val="tx1"/>
                </a:solidFill>
                <a:latin typeface="+mn-lt"/>
                <a:cs typeface="Arial" charset="0"/>
              </a:rPr>
              <a:t>Universidad Nacional de San Luis</a:t>
            </a:r>
          </a:p>
        </p:txBody>
      </p:sp>
      <p:sp>
        <p:nvSpPr>
          <p:cNvPr id="32782" name="Text Box 10"/>
          <p:cNvSpPr txBox="1">
            <a:spLocks noChangeArrowheads="1"/>
          </p:cNvSpPr>
          <p:nvPr/>
        </p:nvSpPr>
        <p:spPr bwMode="auto">
          <a:xfrm>
            <a:off x="1588" y="2681288"/>
            <a:ext cx="2305050" cy="436562"/>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lnSpc>
                <a:spcPct val="80000"/>
              </a:lnSpc>
              <a:defRPr/>
            </a:pPr>
            <a:r>
              <a:rPr lang="es-ES_tradnl" altLang="es-ES_tradnl" sz="1400">
                <a:solidFill>
                  <a:schemeClr val="tx1"/>
                </a:solidFill>
                <a:latin typeface="+mn-lt"/>
              </a:rPr>
              <a:t>Universidad Nacional de Cuyo</a:t>
            </a:r>
          </a:p>
        </p:txBody>
      </p:sp>
      <p:sp>
        <p:nvSpPr>
          <p:cNvPr id="32783" name="Rectangle 26"/>
          <p:cNvSpPr>
            <a:spLocks noChangeArrowheads="1"/>
          </p:cNvSpPr>
          <p:nvPr/>
        </p:nvSpPr>
        <p:spPr bwMode="auto">
          <a:xfrm>
            <a:off x="541338" y="4229100"/>
            <a:ext cx="2641600" cy="436563"/>
          </a:xfrm>
          <a:prstGeom prst="rect">
            <a:avLst/>
          </a:prstGeom>
          <a:noFill/>
          <a:ln>
            <a:noFill/>
          </a:ln>
          <a:extLst/>
        </p:spPr>
        <p:txBody>
          <a:bodyPr>
            <a:spAutoFit/>
          </a:bodyPr>
          <a:lstStyle/>
          <a:p>
            <a:pPr eaLnBrk="0" hangingPunct="0">
              <a:lnSpc>
                <a:spcPct val="80000"/>
              </a:lnSpc>
              <a:defRPr/>
            </a:pPr>
            <a:r>
              <a:rPr lang="es-ES_tradnl" altLang="es-ES_tradnl" sz="1400" dirty="0">
                <a:solidFill>
                  <a:schemeClr val="tx1"/>
                </a:solidFill>
                <a:latin typeface="+mn-lt"/>
                <a:cs typeface="Arial" charset="0"/>
              </a:rPr>
              <a:t>Universidad Nacional    </a:t>
            </a:r>
          </a:p>
          <a:p>
            <a:pPr eaLnBrk="0" hangingPunct="0">
              <a:lnSpc>
                <a:spcPct val="80000"/>
              </a:lnSpc>
              <a:defRPr/>
            </a:pPr>
            <a:r>
              <a:rPr lang="es-ES_tradnl" altLang="es-ES_tradnl" sz="1400" dirty="0">
                <a:solidFill>
                  <a:schemeClr val="tx1"/>
                </a:solidFill>
                <a:latin typeface="+mn-lt"/>
                <a:cs typeface="Arial" charset="0"/>
              </a:rPr>
              <a:t>       de Villa María</a:t>
            </a:r>
          </a:p>
        </p:txBody>
      </p:sp>
      <p:grpSp>
        <p:nvGrpSpPr>
          <p:cNvPr id="31758" name="1 Grupo"/>
          <p:cNvGrpSpPr>
            <a:grpSpLocks noChangeAspect="1"/>
          </p:cNvGrpSpPr>
          <p:nvPr/>
        </p:nvGrpSpPr>
        <p:grpSpPr bwMode="auto">
          <a:xfrm>
            <a:off x="3297238" y="2149475"/>
            <a:ext cx="2836862" cy="3006725"/>
            <a:chOff x="3384550" y="3112294"/>
            <a:chExt cx="2344738" cy="2484437"/>
          </a:xfrm>
        </p:grpSpPr>
        <p:sp>
          <p:nvSpPr>
            <p:cNvPr id="87" name="Freeform 36"/>
            <p:cNvSpPr/>
            <p:nvPr/>
          </p:nvSpPr>
          <p:spPr>
            <a:xfrm>
              <a:off x="3384550" y="3112294"/>
              <a:ext cx="648182" cy="839514"/>
            </a:xfrm>
            <a:custGeom>
              <a:avLst/>
              <a:gdLst>
                <a:gd name="connsiteX0" fmla="*/ 140465 w 647240"/>
                <a:gd name="connsiteY0" fmla="*/ 0 h 840036"/>
                <a:gd name="connsiteX1" fmla="*/ 151481 w 647240"/>
                <a:gd name="connsiteY1" fmla="*/ 55084 h 840036"/>
                <a:gd name="connsiteX2" fmla="*/ 121185 w 647240"/>
                <a:gd name="connsiteY2" fmla="*/ 85381 h 840036"/>
                <a:gd name="connsiteX3" fmla="*/ 137710 w 647240"/>
                <a:gd name="connsiteY3" fmla="*/ 148728 h 840036"/>
                <a:gd name="connsiteX4" fmla="*/ 85380 w 647240"/>
                <a:gd name="connsiteY4" fmla="*/ 179024 h 840036"/>
                <a:gd name="connsiteX5" fmla="*/ 104660 w 647240"/>
                <a:gd name="connsiteY5" fmla="*/ 278176 h 840036"/>
                <a:gd name="connsiteX6" fmla="*/ 85380 w 647240"/>
                <a:gd name="connsiteY6" fmla="*/ 302964 h 840036"/>
                <a:gd name="connsiteX7" fmla="*/ 126694 w 647240"/>
                <a:gd name="connsiteY7" fmla="*/ 344277 h 840036"/>
                <a:gd name="connsiteX8" fmla="*/ 101906 w 647240"/>
                <a:gd name="connsiteY8" fmla="*/ 399361 h 840036"/>
                <a:gd name="connsiteX9" fmla="*/ 66101 w 647240"/>
                <a:gd name="connsiteY9" fmla="*/ 385590 h 840036"/>
                <a:gd name="connsiteX10" fmla="*/ 49575 w 647240"/>
                <a:gd name="connsiteY10" fmla="*/ 437920 h 840036"/>
                <a:gd name="connsiteX11" fmla="*/ 60592 w 647240"/>
                <a:gd name="connsiteY11" fmla="*/ 459954 h 840036"/>
                <a:gd name="connsiteX12" fmla="*/ 33050 w 647240"/>
                <a:gd name="connsiteY12" fmla="*/ 479234 h 840036"/>
                <a:gd name="connsiteX13" fmla="*/ 52330 w 647240"/>
                <a:gd name="connsiteY13" fmla="*/ 531564 h 840036"/>
                <a:gd name="connsiteX14" fmla="*/ 44067 w 647240"/>
                <a:gd name="connsiteY14" fmla="*/ 556352 h 840036"/>
                <a:gd name="connsiteX15" fmla="*/ 0 w 647240"/>
                <a:gd name="connsiteY15" fmla="*/ 539826 h 840036"/>
                <a:gd name="connsiteX16" fmla="*/ 2754 w 647240"/>
                <a:gd name="connsiteY16" fmla="*/ 600419 h 840036"/>
                <a:gd name="connsiteX17" fmla="*/ 24787 w 647240"/>
                <a:gd name="connsiteY17" fmla="*/ 672029 h 840036"/>
                <a:gd name="connsiteX18" fmla="*/ 74363 w 647240"/>
                <a:gd name="connsiteY18" fmla="*/ 716096 h 840036"/>
                <a:gd name="connsiteX19" fmla="*/ 57838 w 647240"/>
                <a:gd name="connsiteY19" fmla="*/ 757409 h 840036"/>
                <a:gd name="connsiteX20" fmla="*/ 107414 w 647240"/>
                <a:gd name="connsiteY20" fmla="*/ 840036 h 840036"/>
                <a:gd name="connsiteX21" fmla="*/ 151481 w 647240"/>
                <a:gd name="connsiteY21" fmla="*/ 826265 h 840036"/>
                <a:gd name="connsiteX22" fmla="*/ 195549 w 647240"/>
                <a:gd name="connsiteY22" fmla="*/ 812494 h 840036"/>
                <a:gd name="connsiteX23" fmla="*/ 201057 w 647240"/>
                <a:gd name="connsiteY23" fmla="*/ 751901 h 840036"/>
                <a:gd name="connsiteX24" fmla="*/ 278175 w 647240"/>
                <a:gd name="connsiteY24" fmla="*/ 716096 h 840036"/>
                <a:gd name="connsiteX25" fmla="*/ 341522 w 647240"/>
                <a:gd name="connsiteY25" fmla="*/ 776689 h 840036"/>
                <a:gd name="connsiteX26" fmla="*/ 448937 w 647240"/>
                <a:gd name="connsiteY26" fmla="*/ 702325 h 840036"/>
                <a:gd name="connsiteX27" fmla="*/ 473725 w 647240"/>
                <a:gd name="connsiteY27" fmla="*/ 740884 h 840036"/>
                <a:gd name="connsiteX28" fmla="*/ 517792 w 647240"/>
                <a:gd name="connsiteY28" fmla="*/ 738130 h 840036"/>
                <a:gd name="connsiteX29" fmla="*/ 567368 w 647240"/>
                <a:gd name="connsiteY29" fmla="*/ 760164 h 840036"/>
                <a:gd name="connsiteX30" fmla="*/ 559106 w 647240"/>
                <a:gd name="connsiteY30" fmla="*/ 669275 h 840036"/>
                <a:gd name="connsiteX31" fmla="*/ 625207 w 647240"/>
                <a:gd name="connsiteY31" fmla="*/ 674783 h 840036"/>
                <a:gd name="connsiteX32" fmla="*/ 647240 w 647240"/>
                <a:gd name="connsiteY32" fmla="*/ 666520 h 840036"/>
                <a:gd name="connsiteX33" fmla="*/ 592156 w 647240"/>
                <a:gd name="connsiteY33" fmla="*/ 567369 h 840036"/>
                <a:gd name="connsiteX34" fmla="*/ 581139 w 647240"/>
                <a:gd name="connsiteY34" fmla="*/ 459954 h 840036"/>
                <a:gd name="connsiteX35" fmla="*/ 358048 w 647240"/>
                <a:gd name="connsiteY35" fmla="*/ 236862 h 840036"/>
                <a:gd name="connsiteX36" fmla="*/ 316734 w 647240"/>
                <a:gd name="connsiteY36" fmla="*/ 258896 h 840036"/>
                <a:gd name="connsiteX37" fmla="*/ 286438 w 647240"/>
                <a:gd name="connsiteY37" fmla="*/ 242371 h 840036"/>
                <a:gd name="connsiteX38" fmla="*/ 272667 w 647240"/>
                <a:gd name="connsiteY38" fmla="*/ 85381 h 840036"/>
                <a:gd name="connsiteX39" fmla="*/ 203812 w 647240"/>
                <a:gd name="connsiteY39" fmla="*/ 16525 h 840036"/>
                <a:gd name="connsiteX40" fmla="*/ 140465 w 647240"/>
                <a:gd name="connsiteY40" fmla="*/ 0 h 84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47240" h="840036">
                  <a:moveTo>
                    <a:pt x="140465" y="0"/>
                  </a:moveTo>
                  <a:lnTo>
                    <a:pt x="151481" y="55084"/>
                  </a:lnTo>
                  <a:lnTo>
                    <a:pt x="121185" y="85381"/>
                  </a:lnTo>
                  <a:lnTo>
                    <a:pt x="137710" y="148728"/>
                  </a:lnTo>
                  <a:lnTo>
                    <a:pt x="85380" y="179024"/>
                  </a:lnTo>
                  <a:lnTo>
                    <a:pt x="104660" y="278176"/>
                  </a:lnTo>
                  <a:lnTo>
                    <a:pt x="85380" y="302964"/>
                  </a:lnTo>
                  <a:lnTo>
                    <a:pt x="126694" y="344277"/>
                  </a:lnTo>
                  <a:lnTo>
                    <a:pt x="101906" y="399361"/>
                  </a:lnTo>
                  <a:lnTo>
                    <a:pt x="66101" y="385590"/>
                  </a:lnTo>
                  <a:lnTo>
                    <a:pt x="49575" y="437920"/>
                  </a:lnTo>
                  <a:lnTo>
                    <a:pt x="60592" y="459954"/>
                  </a:lnTo>
                  <a:lnTo>
                    <a:pt x="33050" y="479234"/>
                  </a:lnTo>
                  <a:lnTo>
                    <a:pt x="52330" y="531564"/>
                  </a:lnTo>
                  <a:lnTo>
                    <a:pt x="44067" y="556352"/>
                  </a:lnTo>
                  <a:lnTo>
                    <a:pt x="0" y="539826"/>
                  </a:lnTo>
                  <a:lnTo>
                    <a:pt x="2754" y="600419"/>
                  </a:lnTo>
                  <a:lnTo>
                    <a:pt x="24787" y="672029"/>
                  </a:lnTo>
                  <a:lnTo>
                    <a:pt x="74363" y="716096"/>
                  </a:lnTo>
                  <a:lnTo>
                    <a:pt x="57838" y="757409"/>
                  </a:lnTo>
                  <a:lnTo>
                    <a:pt x="107414" y="840036"/>
                  </a:lnTo>
                  <a:lnTo>
                    <a:pt x="151481" y="826265"/>
                  </a:lnTo>
                  <a:lnTo>
                    <a:pt x="195549" y="812494"/>
                  </a:lnTo>
                  <a:lnTo>
                    <a:pt x="201057" y="751901"/>
                  </a:lnTo>
                  <a:lnTo>
                    <a:pt x="278175" y="716096"/>
                  </a:lnTo>
                  <a:lnTo>
                    <a:pt x="341522" y="776689"/>
                  </a:lnTo>
                  <a:lnTo>
                    <a:pt x="448937" y="702325"/>
                  </a:lnTo>
                  <a:lnTo>
                    <a:pt x="473725" y="740884"/>
                  </a:lnTo>
                  <a:lnTo>
                    <a:pt x="517792" y="738130"/>
                  </a:lnTo>
                  <a:lnTo>
                    <a:pt x="567368" y="760164"/>
                  </a:lnTo>
                  <a:lnTo>
                    <a:pt x="559106" y="669275"/>
                  </a:lnTo>
                  <a:lnTo>
                    <a:pt x="625207" y="674783"/>
                  </a:lnTo>
                  <a:lnTo>
                    <a:pt x="647240" y="666520"/>
                  </a:lnTo>
                  <a:lnTo>
                    <a:pt x="592156" y="567369"/>
                  </a:lnTo>
                  <a:lnTo>
                    <a:pt x="581139" y="459954"/>
                  </a:lnTo>
                  <a:lnTo>
                    <a:pt x="358048" y="236862"/>
                  </a:lnTo>
                  <a:lnTo>
                    <a:pt x="316734" y="258896"/>
                  </a:lnTo>
                  <a:lnTo>
                    <a:pt x="286438" y="242371"/>
                  </a:lnTo>
                  <a:lnTo>
                    <a:pt x="272667" y="85381"/>
                  </a:lnTo>
                  <a:lnTo>
                    <a:pt x="203812" y="16525"/>
                  </a:lnTo>
                  <a:lnTo>
                    <a:pt x="140465"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92" name="Freeform 41"/>
            <p:cNvSpPr/>
            <p:nvPr/>
          </p:nvSpPr>
          <p:spPr>
            <a:xfrm>
              <a:off x="4230860" y="3310367"/>
              <a:ext cx="694106" cy="1092680"/>
            </a:xfrm>
            <a:custGeom>
              <a:avLst/>
              <a:gdLst>
                <a:gd name="connsiteX0" fmla="*/ 151482 w 694063"/>
                <a:gd name="connsiteY0" fmla="*/ 110169 h 1093425"/>
                <a:gd name="connsiteX1" fmla="*/ 79872 w 694063"/>
                <a:gd name="connsiteY1" fmla="*/ 104661 h 1093425"/>
                <a:gd name="connsiteX2" fmla="*/ 0 w 694063"/>
                <a:gd name="connsiteY2" fmla="*/ 272668 h 1093425"/>
                <a:gd name="connsiteX3" fmla="*/ 0 w 694063"/>
                <a:gd name="connsiteY3" fmla="*/ 481988 h 1093425"/>
                <a:gd name="connsiteX4" fmla="*/ 57839 w 694063"/>
                <a:gd name="connsiteY4" fmla="*/ 506776 h 1093425"/>
                <a:gd name="connsiteX5" fmla="*/ 96398 w 694063"/>
                <a:gd name="connsiteY5" fmla="*/ 556352 h 1093425"/>
                <a:gd name="connsiteX6" fmla="*/ 143219 w 694063"/>
                <a:gd name="connsiteY6" fmla="*/ 570123 h 1093425"/>
                <a:gd name="connsiteX7" fmla="*/ 143219 w 694063"/>
                <a:gd name="connsiteY7" fmla="*/ 638979 h 1093425"/>
                <a:gd name="connsiteX8" fmla="*/ 104660 w 694063"/>
                <a:gd name="connsiteY8" fmla="*/ 754656 h 1093425"/>
                <a:gd name="connsiteX9" fmla="*/ 121186 w 694063"/>
                <a:gd name="connsiteY9" fmla="*/ 1093425 h 1093425"/>
                <a:gd name="connsiteX10" fmla="*/ 426904 w 694063"/>
                <a:gd name="connsiteY10" fmla="*/ 1076899 h 1093425"/>
                <a:gd name="connsiteX11" fmla="*/ 421395 w 694063"/>
                <a:gd name="connsiteY11" fmla="*/ 950205 h 1093425"/>
                <a:gd name="connsiteX12" fmla="*/ 501268 w 694063"/>
                <a:gd name="connsiteY12" fmla="*/ 944697 h 1093425"/>
                <a:gd name="connsiteX13" fmla="*/ 694063 w 694063"/>
                <a:gd name="connsiteY13" fmla="*/ 663767 h 1093425"/>
                <a:gd name="connsiteX14" fmla="*/ 611436 w 694063"/>
                <a:gd name="connsiteY14" fmla="*/ 501268 h 1093425"/>
                <a:gd name="connsiteX15" fmla="*/ 638978 w 694063"/>
                <a:gd name="connsiteY15" fmla="*/ 465463 h 1093425"/>
                <a:gd name="connsiteX16" fmla="*/ 608682 w 694063"/>
                <a:gd name="connsiteY16" fmla="*/ 443429 h 1093425"/>
                <a:gd name="connsiteX17" fmla="*/ 685800 w 694063"/>
                <a:gd name="connsiteY17" fmla="*/ 258897 h 1093425"/>
                <a:gd name="connsiteX18" fmla="*/ 600419 w 694063"/>
                <a:gd name="connsiteY18" fmla="*/ 137711 h 1093425"/>
                <a:gd name="connsiteX19" fmla="*/ 539827 w 694063"/>
                <a:gd name="connsiteY19" fmla="*/ 126694 h 1093425"/>
                <a:gd name="connsiteX20" fmla="*/ 520547 w 694063"/>
                <a:gd name="connsiteY20" fmla="*/ 68856 h 1093425"/>
                <a:gd name="connsiteX21" fmla="*/ 509530 w 694063"/>
                <a:gd name="connsiteY21" fmla="*/ 55085 h 1093425"/>
                <a:gd name="connsiteX22" fmla="*/ 493005 w 694063"/>
                <a:gd name="connsiteY22" fmla="*/ 35805 h 1093425"/>
                <a:gd name="connsiteX23" fmla="*/ 380082 w 694063"/>
                <a:gd name="connsiteY23" fmla="*/ 44068 h 1093425"/>
                <a:gd name="connsiteX24" fmla="*/ 355294 w 694063"/>
                <a:gd name="connsiteY24" fmla="*/ 8263 h 1093425"/>
                <a:gd name="connsiteX25" fmla="*/ 330506 w 694063"/>
                <a:gd name="connsiteY25" fmla="*/ 27543 h 1093425"/>
                <a:gd name="connsiteX26" fmla="*/ 170762 w 694063"/>
                <a:gd name="connsiteY26" fmla="*/ 0 h 1093425"/>
                <a:gd name="connsiteX27" fmla="*/ 134957 w 694063"/>
                <a:gd name="connsiteY27" fmla="*/ 38559 h 1093425"/>
                <a:gd name="connsiteX28" fmla="*/ 151482 w 694063"/>
                <a:gd name="connsiteY28" fmla="*/ 110169 h 109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4063" h="1093425">
                  <a:moveTo>
                    <a:pt x="151482" y="110169"/>
                  </a:moveTo>
                  <a:lnTo>
                    <a:pt x="79872" y="104661"/>
                  </a:lnTo>
                  <a:lnTo>
                    <a:pt x="0" y="272668"/>
                  </a:lnTo>
                  <a:lnTo>
                    <a:pt x="0" y="481988"/>
                  </a:lnTo>
                  <a:lnTo>
                    <a:pt x="57839" y="506776"/>
                  </a:lnTo>
                  <a:lnTo>
                    <a:pt x="96398" y="556352"/>
                  </a:lnTo>
                  <a:lnTo>
                    <a:pt x="143219" y="570123"/>
                  </a:lnTo>
                  <a:lnTo>
                    <a:pt x="143219" y="638979"/>
                  </a:lnTo>
                  <a:lnTo>
                    <a:pt x="104660" y="754656"/>
                  </a:lnTo>
                  <a:lnTo>
                    <a:pt x="121186" y="1093425"/>
                  </a:lnTo>
                  <a:lnTo>
                    <a:pt x="426904" y="1076899"/>
                  </a:lnTo>
                  <a:lnTo>
                    <a:pt x="421395" y="950205"/>
                  </a:lnTo>
                  <a:lnTo>
                    <a:pt x="501268" y="944697"/>
                  </a:lnTo>
                  <a:lnTo>
                    <a:pt x="694063" y="663767"/>
                  </a:lnTo>
                  <a:lnTo>
                    <a:pt x="611436" y="501268"/>
                  </a:lnTo>
                  <a:lnTo>
                    <a:pt x="638978" y="465463"/>
                  </a:lnTo>
                  <a:lnTo>
                    <a:pt x="608682" y="443429"/>
                  </a:lnTo>
                  <a:lnTo>
                    <a:pt x="685800" y="258897"/>
                  </a:lnTo>
                  <a:lnTo>
                    <a:pt x="600419" y="137711"/>
                  </a:lnTo>
                  <a:lnTo>
                    <a:pt x="539827" y="126694"/>
                  </a:lnTo>
                  <a:lnTo>
                    <a:pt x="520547" y="68856"/>
                  </a:lnTo>
                  <a:lnTo>
                    <a:pt x="509530" y="55085"/>
                  </a:lnTo>
                  <a:lnTo>
                    <a:pt x="493005" y="35805"/>
                  </a:lnTo>
                  <a:lnTo>
                    <a:pt x="380082" y="44068"/>
                  </a:lnTo>
                  <a:lnTo>
                    <a:pt x="355294" y="8263"/>
                  </a:lnTo>
                  <a:lnTo>
                    <a:pt x="330506" y="27543"/>
                  </a:lnTo>
                  <a:lnTo>
                    <a:pt x="170762" y="0"/>
                  </a:lnTo>
                  <a:lnTo>
                    <a:pt x="134957" y="38559"/>
                  </a:lnTo>
                  <a:lnTo>
                    <a:pt x="151482" y="110169"/>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93" name="Freeform 45"/>
            <p:cNvSpPr/>
            <p:nvPr/>
          </p:nvSpPr>
          <p:spPr>
            <a:xfrm>
              <a:off x="3942196" y="3778658"/>
              <a:ext cx="434308" cy="810656"/>
            </a:xfrm>
            <a:custGeom>
              <a:avLst/>
              <a:gdLst>
                <a:gd name="connsiteX0" fmla="*/ 0 w 435167"/>
                <a:gd name="connsiteY0" fmla="*/ 5509 h 809740"/>
                <a:gd name="connsiteX1" fmla="*/ 2755 w 435167"/>
                <a:gd name="connsiteY1" fmla="*/ 93644 h 809740"/>
                <a:gd name="connsiteX2" fmla="*/ 44068 w 435167"/>
                <a:gd name="connsiteY2" fmla="*/ 181779 h 809740"/>
                <a:gd name="connsiteX3" fmla="*/ 27543 w 435167"/>
                <a:gd name="connsiteY3" fmla="*/ 209321 h 809740"/>
                <a:gd name="connsiteX4" fmla="*/ 38559 w 435167"/>
                <a:gd name="connsiteY4" fmla="*/ 308473 h 809740"/>
                <a:gd name="connsiteX5" fmla="*/ 145974 w 435167"/>
                <a:gd name="connsiteY5" fmla="*/ 421395 h 809740"/>
                <a:gd name="connsiteX6" fmla="*/ 118432 w 435167"/>
                <a:gd name="connsiteY6" fmla="*/ 465463 h 809740"/>
                <a:gd name="connsiteX7" fmla="*/ 143220 w 435167"/>
                <a:gd name="connsiteY7" fmla="*/ 515039 h 809740"/>
                <a:gd name="connsiteX8" fmla="*/ 129449 w 435167"/>
                <a:gd name="connsiteY8" fmla="*/ 556352 h 809740"/>
                <a:gd name="connsiteX9" fmla="*/ 170762 w 435167"/>
                <a:gd name="connsiteY9" fmla="*/ 597665 h 809740"/>
                <a:gd name="connsiteX10" fmla="*/ 173516 w 435167"/>
                <a:gd name="connsiteY10" fmla="*/ 644487 h 809740"/>
                <a:gd name="connsiteX11" fmla="*/ 184533 w 435167"/>
                <a:gd name="connsiteY11" fmla="*/ 696817 h 809740"/>
                <a:gd name="connsiteX12" fmla="*/ 143220 w 435167"/>
                <a:gd name="connsiteY12" fmla="*/ 809740 h 809740"/>
                <a:gd name="connsiteX13" fmla="*/ 410379 w 435167"/>
                <a:gd name="connsiteY13" fmla="*/ 804232 h 809740"/>
                <a:gd name="connsiteX14" fmla="*/ 396608 w 435167"/>
                <a:gd name="connsiteY14" fmla="*/ 291947 h 809740"/>
                <a:gd name="connsiteX15" fmla="*/ 432412 w 435167"/>
                <a:gd name="connsiteY15" fmla="*/ 165253 h 809740"/>
                <a:gd name="connsiteX16" fmla="*/ 435167 w 435167"/>
                <a:gd name="connsiteY16" fmla="*/ 107415 h 809740"/>
                <a:gd name="connsiteX17" fmla="*/ 377328 w 435167"/>
                <a:gd name="connsiteY17" fmla="*/ 88135 h 809740"/>
                <a:gd name="connsiteX18" fmla="*/ 341523 w 435167"/>
                <a:gd name="connsiteY18" fmla="*/ 33051 h 809740"/>
                <a:gd name="connsiteX19" fmla="*/ 291947 w 435167"/>
                <a:gd name="connsiteY19" fmla="*/ 5509 h 809740"/>
                <a:gd name="connsiteX20" fmla="*/ 225846 w 435167"/>
                <a:gd name="connsiteY20" fmla="*/ 24788 h 809740"/>
                <a:gd name="connsiteX21" fmla="*/ 88135 w 435167"/>
                <a:gd name="connsiteY21" fmla="*/ 0 h 809740"/>
                <a:gd name="connsiteX22" fmla="*/ 0 w 435167"/>
                <a:gd name="connsiteY22" fmla="*/ 5509 h 809740"/>
                <a:gd name="connsiteX0" fmla="*/ 0 w 435167"/>
                <a:gd name="connsiteY0" fmla="*/ 5509 h 809740"/>
                <a:gd name="connsiteX1" fmla="*/ 2755 w 435167"/>
                <a:gd name="connsiteY1" fmla="*/ 93644 h 809740"/>
                <a:gd name="connsiteX2" fmla="*/ 44068 w 435167"/>
                <a:gd name="connsiteY2" fmla="*/ 181779 h 809740"/>
                <a:gd name="connsiteX3" fmla="*/ 27543 w 435167"/>
                <a:gd name="connsiteY3" fmla="*/ 209321 h 809740"/>
                <a:gd name="connsiteX4" fmla="*/ 38559 w 435167"/>
                <a:gd name="connsiteY4" fmla="*/ 308473 h 809740"/>
                <a:gd name="connsiteX5" fmla="*/ 145974 w 435167"/>
                <a:gd name="connsiteY5" fmla="*/ 421395 h 809740"/>
                <a:gd name="connsiteX6" fmla="*/ 118432 w 435167"/>
                <a:gd name="connsiteY6" fmla="*/ 465463 h 809740"/>
                <a:gd name="connsiteX7" fmla="*/ 143220 w 435167"/>
                <a:gd name="connsiteY7" fmla="*/ 515039 h 809740"/>
                <a:gd name="connsiteX8" fmla="*/ 129449 w 435167"/>
                <a:gd name="connsiteY8" fmla="*/ 556352 h 809740"/>
                <a:gd name="connsiteX9" fmla="*/ 170762 w 435167"/>
                <a:gd name="connsiteY9" fmla="*/ 597665 h 809740"/>
                <a:gd name="connsiteX10" fmla="*/ 173516 w 435167"/>
                <a:gd name="connsiteY10" fmla="*/ 644487 h 809740"/>
                <a:gd name="connsiteX11" fmla="*/ 184533 w 435167"/>
                <a:gd name="connsiteY11" fmla="*/ 696817 h 809740"/>
                <a:gd name="connsiteX12" fmla="*/ 143220 w 435167"/>
                <a:gd name="connsiteY12" fmla="*/ 809740 h 809740"/>
                <a:gd name="connsiteX13" fmla="*/ 410379 w 435167"/>
                <a:gd name="connsiteY13" fmla="*/ 804232 h 809740"/>
                <a:gd name="connsiteX14" fmla="*/ 396608 w 435167"/>
                <a:gd name="connsiteY14" fmla="*/ 291947 h 809740"/>
                <a:gd name="connsiteX15" fmla="*/ 432412 w 435167"/>
                <a:gd name="connsiteY15" fmla="*/ 165253 h 809740"/>
                <a:gd name="connsiteX16" fmla="*/ 435167 w 435167"/>
                <a:gd name="connsiteY16" fmla="*/ 107415 h 809740"/>
                <a:gd name="connsiteX17" fmla="*/ 377328 w 435167"/>
                <a:gd name="connsiteY17" fmla="*/ 88135 h 809740"/>
                <a:gd name="connsiteX18" fmla="*/ 341523 w 435167"/>
                <a:gd name="connsiteY18" fmla="*/ 33051 h 809740"/>
                <a:gd name="connsiteX19" fmla="*/ 291947 w 435167"/>
                <a:gd name="connsiteY19" fmla="*/ 5509 h 809740"/>
                <a:gd name="connsiteX20" fmla="*/ 215743 w 435167"/>
                <a:gd name="connsiteY20" fmla="*/ 14593 h 809740"/>
                <a:gd name="connsiteX21" fmla="*/ 88135 w 435167"/>
                <a:gd name="connsiteY21" fmla="*/ 0 h 809740"/>
                <a:gd name="connsiteX22" fmla="*/ 0 w 435167"/>
                <a:gd name="connsiteY22" fmla="*/ 5509 h 809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5167" h="809740">
                  <a:moveTo>
                    <a:pt x="0" y="5509"/>
                  </a:moveTo>
                  <a:cubicBezTo>
                    <a:pt x="918" y="34887"/>
                    <a:pt x="1837" y="64266"/>
                    <a:pt x="2755" y="93644"/>
                  </a:cubicBezTo>
                  <a:lnTo>
                    <a:pt x="44068" y="181779"/>
                  </a:lnTo>
                  <a:lnTo>
                    <a:pt x="27543" y="209321"/>
                  </a:lnTo>
                  <a:lnTo>
                    <a:pt x="38559" y="308473"/>
                  </a:lnTo>
                  <a:lnTo>
                    <a:pt x="145974" y="421395"/>
                  </a:lnTo>
                  <a:lnTo>
                    <a:pt x="118432" y="465463"/>
                  </a:lnTo>
                  <a:lnTo>
                    <a:pt x="143220" y="515039"/>
                  </a:lnTo>
                  <a:lnTo>
                    <a:pt x="129449" y="556352"/>
                  </a:lnTo>
                  <a:lnTo>
                    <a:pt x="170762" y="597665"/>
                  </a:lnTo>
                  <a:lnTo>
                    <a:pt x="173516" y="644487"/>
                  </a:lnTo>
                  <a:lnTo>
                    <a:pt x="184533" y="696817"/>
                  </a:lnTo>
                  <a:lnTo>
                    <a:pt x="143220" y="809740"/>
                  </a:lnTo>
                  <a:lnTo>
                    <a:pt x="410379" y="804232"/>
                  </a:lnTo>
                  <a:lnTo>
                    <a:pt x="396608" y="291947"/>
                  </a:lnTo>
                  <a:lnTo>
                    <a:pt x="432412" y="165253"/>
                  </a:lnTo>
                  <a:lnTo>
                    <a:pt x="435167" y="107415"/>
                  </a:lnTo>
                  <a:lnTo>
                    <a:pt x="377328" y="88135"/>
                  </a:lnTo>
                  <a:lnTo>
                    <a:pt x="341523" y="33051"/>
                  </a:lnTo>
                  <a:lnTo>
                    <a:pt x="291947" y="5509"/>
                  </a:lnTo>
                  <a:lnTo>
                    <a:pt x="215743" y="14593"/>
                  </a:lnTo>
                  <a:lnTo>
                    <a:pt x="88135" y="0"/>
                  </a:lnTo>
                  <a:lnTo>
                    <a:pt x="0" y="5509"/>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94" name="Freeform 57"/>
            <p:cNvSpPr/>
            <p:nvPr/>
          </p:nvSpPr>
          <p:spPr>
            <a:xfrm>
              <a:off x="3459340" y="3810140"/>
              <a:ext cx="671800" cy="1116292"/>
            </a:xfrm>
            <a:custGeom>
              <a:avLst/>
              <a:gdLst>
                <a:gd name="connsiteX0" fmla="*/ 27543 w 672029"/>
                <a:gd name="connsiteY0" fmla="*/ 143219 h 1115458"/>
                <a:gd name="connsiteX1" fmla="*/ 55085 w 672029"/>
                <a:gd name="connsiteY1" fmla="*/ 236863 h 1115458"/>
                <a:gd name="connsiteX2" fmla="*/ 46822 w 672029"/>
                <a:gd name="connsiteY2" fmla="*/ 261651 h 1115458"/>
                <a:gd name="connsiteX3" fmla="*/ 55085 w 672029"/>
                <a:gd name="connsiteY3" fmla="*/ 297455 h 1115458"/>
                <a:gd name="connsiteX4" fmla="*/ 101906 w 672029"/>
                <a:gd name="connsiteY4" fmla="*/ 275422 h 1115458"/>
                <a:gd name="connsiteX5" fmla="*/ 118432 w 672029"/>
                <a:gd name="connsiteY5" fmla="*/ 324998 h 1115458"/>
                <a:gd name="connsiteX6" fmla="*/ 99152 w 672029"/>
                <a:gd name="connsiteY6" fmla="*/ 358048 h 1115458"/>
                <a:gd name="connsiteX7" fmla="*/ 115677 w 672029"/>
                <a:gd name="connsiteY7" fmla="*/ 473725 h 1115458"/>
                <a:gd name="connsiteX8" fmla="*/ 85381 w 672029"/>
                <a:gd name="connsiteY8" fmla="*/ 479234 h 1115458"/>
                <a:gd name="connsiteX9" fmla="*/ 19280 w 672029"/>
                <a:gd name="connsiteY9" fmla="*/ 550843 h 1115458"/>
                <a:gd name="connsiteX10" fmla="*/ 38559 w 672029"/>
                <a:gd name="connsiteY10" fmla="*/ 630716 h 1115458"/>
                <a:gd name="connsiteX11" fmla="*/ 0 w 672029"/>
                <a:gd name="connsiteY11" fmla="*/ 677537 h 1115458"/>
                <a:gd name="connsiteX12" fmla="*/ 44068 w 672029"/>
                <a:gd name="connsiteY12" fmla="*/ 751901 h 1115458"/>
                <a:gd name="connsiteX13" fmla="*/ 33051 w 672029"/>
                <a:gd name="connsiteY13" fmla="*/ 806985 h 1115458"/>
                <a:gd name="connsiteX14" fmla="*/ 66102 w 672029"/>
                <a:gd name="connsiteY14" fmla="*/ 848299 h 1115458"/>
                <a:gd name="connsiteX15" fmla="*/ 49576 w 672029"/>
                <a:gd name="connsiteY15" fmla="*/ 870332 h 1115458"/>
                <a:gd name="connsiteX16" fmla="*/ 126694 w 672029"/>
                <a:gd name="connsiteY16" fmla="*/ 955713 h 1115458"/>
                <a:gd name="connsiteX17" fmla="*/ 179024 w 672029"/>
                <a:gd name="connsiteY17" fmla="*/ 1071390 h 1115458"/>
                <a:gd name="connsiteX18" fmla="*/ 242371 w 672029"/>
                <a:gd name="connsiteY18" fmla="*/ 1030077 h 1115458"/>
                <a:gd name="connsiteX19" fmla="*/ 300210 w 672029"/>
                <a:gd name="connsiteY19" fmla="*/ 1071390 h 1115458"/>
                <a:gd name="connsiteX20" fmla="*/ 355294 w 672029"/>
                <a:gd name="connsiteY20" fmla="*/ 1071390 h 1115458"/>
                <a:gd name="connsiteX21" fmla="*/ 374574 w 672029"/>
                <a:gd name="connsiteY21" fmla="*/ 1115458 h 1115458"/>
                <a:gd name="connsiteX22" fmla="*/ 410379 w 672029"/>
                <a:gd name="connsiteY22" fmla="*/ 1109949 h 1115458"/>
                <a:gd name="connsiteX23" fmla="*/ 391099 w 672029"/>
                <a:gd name="connsiteY23" fmla="*/ 804231 h 1115458"/>
                <a:gd name="connsiteX24" fmla="*/ 641733 w 672029"/>
                <a:gd name="connsiteY24" fmla="*/ 776689 h 1115458"/>
                <a:gd name="connsiteX25" fmla="*/ 672029 w 672029"/>
                <a:gd name="connsiteY25" fmla="*/ 658258 h 1115458"/>
                <a:gd name="connsiteX26" fmla="*/ 647241 w 672029"/>
                <a:gd name="connsiteY26" fmla="*/ 550843 h 1115458"/>
                <a:gd name="connsiteX27" fmla="*/ 614191 w 672029"/>
                <a:gd name="connsiteY27" fmla="*/ 534318 h 1115458"/>
                <a:gd name="connsiteX28" fmla="*/ 622453 w 672029"/>
                <a:gd name="connsiteY28" fmla="*/ 468217 h 1115458"/>
                <a:gd name="connsiteX29" fmla="*/ 600420 w 672029"/>
                <a:gd name="connsiteY29" fmla="*/ 426904 h 1115458"/>
                <a:gd name="connsiteX30" fmla="*/ 625208 w 672029"/>
                <a:gd name="connsiteY30" fmla="*/ 380082 h 1115458"/>
                <a:gd name="connsiteX31" fmla="*/ 517793 w 672029"/>
                <a:gd name="connsiteY31" fmla="*/ 267159 h 1115458"/>
                <a:gd name="connsiteX32" fmla="*/ 509531 w 672029"/>
                <a:gd name="connsiteY32" fmla="*/ 173516 h 1115458"/>
                <a:gd name="connsiteX33" fmla="*/ 520547 w 672029"/>
                <a:gd name="connsiteY33" fmla="*/ 134957 h 1115458"/>
                <a:gd name="connsiteX34" fmla="*/ 484743 w 672029"/>
                <a:gd name="connsiteY34" fmla="*/ 38559 h 1115458"/>
                <a:gd name="connsiteX35" fmla="*/ 404870 w 672029"/>
                <a:gd name="connsiteY35" fmla="*/ 41313 h 1115458"/>
                <a:gd name="connsiteX36" fmla="*/ 374574 w 672029"/>
                <a:gd name="connsiteY36" fmla="*/ 0 h 1115458"/>
                <a:gd name="connsiteX37" fmla="*/ 267159 w 672029"/>
                <a:gd name="connsiteY37" fmla="*/ 77118 h 1115458"/>
                <a:gd name="connsiteX38" fmla="*/ 201058 w 672029"/>
                <a:gd name="connsiteY38" fmla="*/ 19279 h 1115458"/>
                <a:gd name="connsiteX39" fmla="*/ 121186 w 672029"/>
                <a:gd name="connsiteY39" fmla="*/ 52330 h 1115458"/>
                <a:gd name="connsiteX40" fmla="*/ 112923 w 672029"/>
                <a:gd name="connsiteY40" fmla="*/ 110169 h 1115458"/>
                <a:gd name="connsiteX41" fmla="*/ 27543 w 672029"/>
                <a:gd name="connsiteY41" fmla="*/ 143219 h 111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72029" h="1115458">
                  <a:moveTo>
                    <a:pt x="27543" y="143219"/>
                  </a:moveTo>
                  <a:lnTo>
                    <a:pt x="55085" y="236863"/>
                  </a:lnTo>
                  <a:lnTo>
                    <a:pt x="46822" y="261651"/>
                  </a:lnTo>
                  <a:lnTo>
                    <a:pt x="55085" y="297455"/>
                  </a:lnTo>
                  <a:lnTo>
                    <a:pt x="101906" y="275422"/>
                  </a:lnTo>
                  <a:lnTo>
                    <a:pt x="118432" y="324998"/>
                  </a:lnTo>
                  <a:lnTo>
                    <a:pt x="99152" y="358048"/>
                  </a:lnTo>
                  <a:lnTo>
                    <a:pt x="115677" y="473725"/>
                  </a:lnTo>
                  <a:lnTo>
                    <a:pt x="85381" y="479234"/>
                  </a:lnTo>
                  <a:lnTo>
                    <a:pt x="19280" y="550843"/>
                  </a:lnTo>
                  <a:lnTo>
                    <a:pt x="38559" y="630716"/>
                  </a:lnTo>
                  <a:lnTo>
                    <a:pt x="0" y="677537"/>
                  </a:lnTo>
                  <a:lnTo>
                    <a:pt x="44068" y="751901"/>
                  </a:lnTo>
                  <a:lnTo>
                    <a:pt x="33051" y="806985"/>
                  </a:lnTo>
                  <a:lnTo>
                    <a:pt x="66102" y="848299"/>
                  </a:lnTo>
                  <a:lnTo>
                    <a:pt x="49576" y="870332"/>
                  </a:lnTo>
                  <a:lnTo>
                    <a:pt x="126694" y="955713"/>
                  </a:lnTo>
                  <a:lnTo>
                    <a:pt x="179024" y="1071390"/>
                  </a:lnTo>
                  <a:lnTo>
                    <a:pt x="242371" y="1030077"/>
                  </a:lnTo>
                  <a:lnTo>
                    <a:pt x="300210" y="1071390"/>
                  </a:lnTo>
                  <a:lnTo>
                    <a:pt x="355294" y="1071390"/>
                  </a:lnTo>
                  <a:lnTo>
                    <a:pt x="374574" y="1115458"/>
                  </a:lnTo>
                  <a:lnTo>
                    <a:pt x="410379" y="1109949"/>
                  </a:lnTo>
                  <a:lnTo>
                    <a:pt x="391099" y="804231"/>
                  </a:lnTo>
                  <a:lnTo>
                    <a:pt x="641733" y="776689"/>
                  </a:lnTo>
                  <a:lnTo>
                    <a:pt x="672029" y="658258"/>
                  </a:lnTo>
                  <a:lnTo>
                    <a:pt x="647241" y="550843"/>
                  </a:lnTo>
                  <a:lnTo>
                    <a:pt x="614191" y="534318"/>
                  </a:lnTo>
                  <a:lnTo>
                    <a:pt x="622453" y="468217"/>
                  </a:lnTo>
                  <a:lnTo>
                    <a:pt x="600420" y="426904"/>
                  </a:lnTo>
                  <a:lnTo>
                    <a:pt x="625208" y="380082"/>
                  </a:lnTo>
                  <a:lnTo>
                    <a:pt x="517793" y="267159"/>
                  </a:lnTo>
                  <a:lnTo>
                    <a:pt x="509531" y="173516"/>
                  </a:lnTo>
                  <a:lnTo>
                    <a:pt x="520547" y="134957"/>
                  </a:lnTo>
                  <a:lnTo>
                    <a:pt x="484743" y="38559"/>
                  </a:lnTo>
                  <a:lnTo>
                    <a:pt x="404870" y="41313"/>
                  </a:lnTo>
                  <a:lnTo>
                    <a:pt x="374574" y="0"/>
                  </a:lnTo>
                  <a:lnTo>
                    <a:pt x="267159" y="77118"/>
                  </a:lnTo>
                  <a:lnTo>
                    <a:pt x="201058" y="19279"/>
                  </a:lnTo>
                  <a:lnTo>
                    <a:pt x="121186" y="52330"/>
                  </a:lnTo>
                  <a:lnTo>
                    <a:pt x="112923" y="110169"/>
                  </a:lnTo>
                  <a:lnTo>
                    <a:pt x="27543" y="143219"/>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96" name="Freeform 59"/>
            <p:cNvSpPr/>
            <p:nvPr/>
          </p:nvSpPr>
          <p:spPr>
            <a:xfrm>
              <a:off x="3849037" y="4375501"/>
              <a:ext cx="808259" cy="865749"/>
            </a:xfrm>
            <a:custGeom>
              <a:avLst/>
              <a:gdLst>
                <a:gd name="connsiteX0" fmla="*/ 0 w 806986"/>
                <a:gd name="connsiteY0" fmla="*/ 242371 h 864824"/>
                <a:gd name="connsiteX1" fmla="*/ 8263 w 806986"/>
                <a:gd name="connsiteY1" fmla="*/ 537073 h 864824"/>
                <a:gd name="connsiteX2" fmla="*/ 66101 w 806986"/>
                <a:gd name="connsiteY2" fmla="*/ 542581 h 864824"/>
                <a:gd name="connsiteX3" fmla="*/ 104660 w 806986"/>
                <a:gd name="connsiteY3" fmla="*/ 581140 h 864824"/>
                <a:gd name="connsiteX4" fmla="*/ 77118 w 806986"/>
                <a:gd name="connsiteY4" fmla="*/ 622453 h 864824"/>
                <a:gd name="connsiteX5" fmla="*/ 88135 w 806986"/>
                <a:gd name="connsiteY5" fmla="*/ 652750 h 864824"/>
                <a:gd name="connsiteX6" fmla="*/ 129448 w 806986"/>
                <a:gd name="connsiteY6" fmla="*/ 652750 h 864824"/>
                <a:gd name="connsiteX7" fmla="*/ 170762 w 806986"/>
                <a:gd name="connsiteY7" fmla="*/ 616945 h 864824"/>
                <a:gd name="connsiteX8" fmla="*/ 247880 w 806986"/>
                <a:gd name="connsiteY8" fmla="*/ 721605 h 864824"/>
                <a:gd name="connsiteX9" fmla="*/ 300210 w 806986"/>
                <a:gd name="connsiteY9" fmla="*/ 743639 h 864824"/>
                <a:gd name="connsiteX10" fmla="*/ 316735 w 806986"/>
                <a:gd name="connsiteY10" fmla="*/ 784952 h 864824"/>
                <a:gd name="connsiteX11" fmla="*/ 388345 w 806986"/>
                <a:gd name="connsiteY11" fmla="*/ 784952 h 864824"/>
                <a:gd name="connsiteX12" fmla="*/ 407624 w 806986"/>
                <a:gd name="connsiteY12" fmla="*/ 765673 h 864824"/>
                <a:gd name="connsiteX13" fmla="*/ 443429 w 806986"/>
                <a:gd name="connsiteY13" fmla="*/ 793215 h 864824"/>
                <a:gd name="connsiteX14" fmla="*/ 534318 w 806986"/>
                <a:gd name="connsiteY14" fmla="*/ 768427 h 864824"/>
                <a:gd name="connsiteX15" fmla="*/ 559106 w 806986"/>
                <a:gd name="connsiteY15" fmla="*/ 790461 h 864824"/>
                <a:gd name="connsiteX16" fmla="*/ 652750 w 806986"/>
                <a:gd name="connsiteY16" fmla="*/ 787706 h 864824"/>
                <a:gd name="connsiteX17" fmla="*/ 661012 w 806986"/>
                <a:gd name="connsiteY17" fmla="*/ 823511 h 864824"/>
                <a:gd name="connsiteX18" fmla="*/ 782198 w 806986"/>
                <a:gd name="connsiteY18" fmla="*/ 864824 h 864824"/>
                <a:gd name="connsiteX19" fmla="*/ 806986 w 806986"/>
                <a:gd name="connsiteY19" fmla="*/ 0 h 864824"/>
                <a:gd name="connsiteX20" fmla="*/ 493005 w 806986"/>
                <a:gd name="connsiteY20" fmla="*/ 24788 h 864824"/>
                <a:gd name="connsiteX21" fmla="*/ 506776 w 806986"/>
                <a:gd name="connsiteY21" fmla="*/ 203812 h 864824"/>
                <a:gd name="connsiteX22" fmla="*/ 261651 w 806986"/>
                <a:gd name="connsiteY22" fmla="*/ 206567 h 864824"/>
                <a:gd name="connsiteX23" fmla="*/ 0 w 806986"/>
                <a:gd name="connsiteY23" fmla="*/ 242371 h 86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06986" h="864824">
                  <a:moveTo>
                    <a:pt x="0" y="242371"/>
                  </a:moveTo>
                  <a:lnTo>
                    <a:pt x="8263" y="537073"/>
                  </a:lnTo>
                  <a:lnTo>
                    <a:pt x="66101" y="542581"/>
                  </a:lnTo>
                  <a:lnTo>
                    <a:pt x="104660" y="581140"/>
                  </a:lnTo>
                  <a:lnTo>
                    <a:pt x="77118" y="622453"/>
                  </a:lnTo>
                  <a:lnTo>
                    <a:pt x="88135" y="652750"/>
                  </a:lnTo>
                  <a:lnTo>
                    <a:pt x="129448" y="652750"/>
                  </a:lnTo>
                  <a:lnTo>
                    <a:pt x="170762" y="616945"/>
                  </a:lnTo>
                  <a:lnTo>
                    <a:pt x="247880" y="721605"/>
                  </a:lnTo>
                  <a:lnTo>
                    <a:pt x="300210" y="743639"/>
                  </a:lnTo>
                  <a:lnTo>
                    <a:pt x="316735" y="784952"/>
                  </a:lnTo>
                  <a:lnTo>
                    <a:pt x="388345" y="784952"/>
                  </a:lnTo>
                  <a:lnTo>
                    <a:pt x="407624" y="765673"/>
                  </a:lnTo>
                  <a:lnTo>
                    <a:pt x="443429" y="793215"/>
                  </a:lnTo>
                  <a:lnTo>
                    <a:pt x="534318" y="768427"/>
                  </a:lnTo>
                  <a:lnTo>
                    <a:pt x="559106" y="790461"/>
                  </a:lnTo>
                  <a:lnTo>
                    <a:pt x="652750" y="787706"/>
                  </a:lnTo>
                  <a:lnTo>
                    <a:pt x="661012" y="823511"/>
                  </a:lnTo>
                  <a:lnTo>
                    <a:pt x="782198" y="864824"/>
                  </a:lnTo>
                  <a:lnTo>
                    <a:pt x="806986" y="0"/>
                  </a:lnTo>
                  <a:lnTo>
                    <a:pt x="493005" y="24788"/>
                  </a:lnTo>
                  <a:lnTo>
                    <a:pt x="506776" y="203812"/>
                  </a:lnTo>
                  <a:lnTo>
                    <a:pt x="261651" y="206567"/>
                  </a:lnTo>
                  <a:lnTo>
                    <a:pt x="0" y="242371"/>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97" name="Freeform 60"/>
            <p:cNvSpPr/>
            <p:nvPr/>
          </p:nvSpPr>
          <p:spPr>
            <a:xfrm>
              <a:off x="4632365" y="4084294"/>
              <a:ext cx="1096923" cy="1512437"/>
            </a:xfrm>
            <a:custGeom>
              <a:avLst/>
              <a:gdLst>
                <a:gd name="connsiteX0" fmla="*/ 829019 w 1096178"/>
                <a:gd name="connsiteY0" fmla="*/ 143220 h 1512065"/>
                <a:gd name="connsiteX1" fmla="*/ 575631 w 1096178"/>
                <a:gd name="connsiteY1" fmla="*/ 55085 h 1512065"/>
                <a:gd name="connsiteX2" fmla="*/ 539826 w 1096178"/>
                <a:gd name="connsiteY2" fmla="*/ 0 h 1512065"/>
                <a:gd name="connsiteX3" fmla="*/ 457200 w 1096178"/>
                <a:gd name="connsiteY3" fmla="*/ 2755 h 1512065"/>
                <a:gd name="connsiteX4" fmla="*/ 297455 w 1096178"/>
                <a:gd name="connsiteY4" fmla="*/ 190041 h 1512065"/>
                <a:gd name="connsiteX5" fmla="*/ 110168 w 1096178"/>
                <a:gd name="connsiteY5" fmla="*/ 162499 h 1512065"/>
                <a:gd name="connsiteX6" fmla="*/ 24788 w 1096178"/>
                <a:gd name="connsiteY6" fmla="*/ 179024 h 1512065"/>
                <a:gd name="connsiteX7" fmla="*/ 19279 w 1096178"/>
                <a:gd name="connsiteY7" fmla="*/ 302964 h 1512065"/>
                <a:gd name="connsiteX8" fmla="*/ 0 w 1096178"/>
                <a:gd name="connsiteY8" fmla="*/ 1445964 h 1512065"/>
                <a:gd name="connsiteX9" fmla="*/ 55084 w 1096178"/>
                <a:gd name="connsiteY9" fmla="*/ 1459735 h 1512065"/>
                <a:gd name="connsiteX10" fmla="*/ 126694 w 1096178"/>
                <a:gd name="connsiteY10" fmla="*/ 1512065 h 1512065"/>
                <a:gd name="connsiteX11" fmla="*/ 165253 w 1096178"/>
                <a:gd name="connsiteY11" fmla="*/ 1454227 h 1512065"/>
                <a:gd name="connsiteX12" fmla="*/ 140465 w 1096178"/>
                <a:gd name="connsiteY12" fmla="*/ 1385371 h 1512065"/>
                <a:gd name="connsiteX13" fmla="*/ 154236 w 1096178"/>
                <a:gd name="connsiteY13" fmla="*/ 1258677 h 1512065"/>
                <a:gd name="connsiteX14" fmla="*/ 206566 w 1096178"/>
                <a:gd name="connsiteY14" fmla="*/ 1275203 h 1512065"/>
                <a:gd name="connsiteX15" fmla="*/ 203812 w 1096178"/>
                <a:gd name="connsiteY15" fmla="*/ 1217364 h 1512065"/>
                <a:gd name="connsiteX16" fmla="*/ 165253 w 1096178"/>
                <a:gd name="connsiteY16" fmla="*/ 1143000 h 1512065"/>
                <a:gd name="connsiteX17" fmla="*/ 140465 w 1096178"/>
                <a:gd name="connsiteY17" fmla="*/ 1098933 h 1512065"/>
                <a:gd name="connsiteX18" fmla="*/ 148727 w 1096178"/>
                <a:gd name="connsiteY18" fmla="*/ 1046603 h 1512065"/>
                <a:gd name="connsiteX19" fmla="*/ 209320 w 1096178"/>
                <a:gd name="connsiteY19" fmla="*/ 1087916 h 1512065"/>
                <a:gd name="connsiteX20" fmla="*/ 283684 w 1096178"/>
                <a:gd name="connsiteY20" fmla="*/ 1104441 h 1512065"/>
                <a:gd name="connsiteX21" fmla="*/ 402115 w 1096178"/>
                <a:gd name="connsiteY21" fmla="*/ 1098933 h 1512065"/>
                <a:gd name="connsiteX22" fmla="*/ 652749 w 1096178"/>
                <a:gd name="connsiteY22" fmla="*/ 1054865 h 1512065"/>
                <a:gd name="connsiteX23" fmla="*/ 917154 w 1096178"/>
                <a:gd name="connsiteY23" fmla="*/ 969485 h 1512065"/>
                <a:gd name="connsiteX24" fmla="*/ 936434 w 1096178"/>
                <a:gd name="connsiteY24" fmla="*/ 903384 h 1512065"/>
                <a:gd name="connsiteX25" fmla="*/ 1096178 w 1096178"/>
                <a:gd name="connsiteY25" fmla="*/ 677538 h 1512065"/>
                <a:gd name="connsiteX26" fmla="*/ 1090670 w 1096178"/>
                <a:gd name="connsiteY26" fmla="*/ 578386 h 1512065"/>
                <a:gd name="connsiteX27" fmla="*/ 1052111 w 1096178"/>
                <a:gd name="connsiteY27" fmla="*/ 614191 h 1512065"/>
                <a:gd name="connsiteX28" fmla="*/ 966730 w 1096178"/>
                <a:gd name="connsiteY28" fmla="*/ 545335 h 1512065"/>
                <a:gd name="connsiteX29" fmla="*/ 986009 w 1096178"/>
                <a:gd name="connsiteY29" fmla="*/ 440675 h 1512065"/>
                <a:gd name="connsiteX30" fmla="*/ 1032831 w 1096178"/>
                <a:gd name="connsiteY30" fmla="*/ 391099 h 1512065"/>
                <a:gd name="connsiteX31" fmla="*/ 994272 w 1096178"/>
                <a:gd name="connsiteY31" fmla="*/ 338769 h 1512065"/>
                <a:gd name="connsiteX32" fmla="*/ 862070 w 1096178"/>
                <a:gd name="connsiteY32" fmla="*/ 267159 h 1512065"/>
                <a:gd name="connsiteX33" fmla="*/ 784952 w 1096178"/>
                <a:gd name="connsiteY33" fmla="*/ 192796 h 1512065"/>
                <a:gd name="connsiteX34" fmla="*/ 829019 w 1096178"/>
                <a:gd name="connsiteY34" fmla="*/ 143220 h 151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96178" h="1512065">
                  <a:moveTo>
                    <a:pt x="829019" y="143220"/>
                  </a:moveTo>
                  <a:lnTo>
                    <a:pt x="575631" y="55085"/>
                  </a:lnTo>
                  <a:lnTo>
                    <a:pt x="539826" y="0"/>
                  </a:lnTo>
                  <a:lnTo>
                    <a:pt x="457200" y="2755"/>
                  </a:lnTo>
                  <a:lnTo>
                    <a:pt x="297455" y="190041"/>
                  </a:lnTo>
                  <a:lnTo>
                    <a:pt x="110168" y="162499"/>
                  </a:lnTo>
                  <a:lnTo>
                    <a:pt x="24788" y="179024"/>
                  </a:lnTo>
                  <a:lnTo>
                    <a:pt x="19279" y="302964"/>
                  </a:lnTo>
                  <a:lnTo>
                    <a:pt x="0" y="1445964"/>
                  </a:lnTo>
                  <a:lnTo>
                    <a:pt x="55084" y="1459735"/>
                  </a:lnTo>
                  <a:lnTo>
                    <a:pt x="126694" y="1512065"/>
                  </a:lnTo>
                  <a:lnTo>
                    <a:pt x="165253" y="1454227"/>
                  </a:lnTo>
                  <a:lnTo>
                    <a:pt x="140465" y="1385371"/>
                  </a:lnTo>
                  <a:lnTo>
                    <a:pt x="154236" y="1258677"/>
                  </a:lnTo>
                  <a:lnTo>
                    <a:pt x="206566" y="1275203"/>
                  </a:lnTo>
                  <a:lnTo>
                    <a:pt x="203812" y="1217364"/>
                  </a:lnTo>
                  <a:lnTo>
                    <a:pt x="165253" y="1143000"/>
                  </a:lnTo>
                  <a:lnTo>
                    <a:pt x="140465" y="1098933"/>
                  </a:lnTo>
                  <a:lnTo>
                    <a:pt x="148727" y="1046603"/>
                  </a:lnTo>
                  <a:lnTo>
                    <a:pt x="209320" y="1087916"/>
                  </a:lnTo>
                  <a:lnTo>
                    <a:pt x="283684" y="1104441"/>
                  </a:lnTo>
                  <a:lnTo>
                    <a:pt x="402115" y="1098933"/>
                  </a:lnTo>
                  <a:lnTo>
                    <a:pt x="652749" y="1054865"/>
                  </a:lnTo>
                  <a:lnTo>
                    <a:pt x="917154" y="969485"/>
                  </a:lnTo>
                  <a:lnTo>
                    <a:pt x="936434" y="903384"/>
                  </a:lnTo>
                  <a:lnTo>
                    <a:pt x="1096178" y="677538"/>
                  </a:lnTo>
                  <a:lnTo>
                    <a:pt x="1090670" y="578386"/>
                  </a:lnTo>
                  <a:lnTo>
                    <a:pt x="1052111" y="614191"/>
                  </a:lnTo>
                  <a:lnTo>
                    <a:pt x="966730" y="545335"/>
                  </a:lnTo>
                  <a:lnTo>
                    <a:pt x="986009" y="440675"/>
                  </a:lnTo>
                  <a:lnTo>
                    <a:pt x="1032831" y="391099"/>
                  </a:lnTo>
                  <a:lnTo>
                    <a:pt x="994272" y="338769"/>
                  </a:lnTo>
                  <a:lnTo>
                    <a:pt x="862070" y="267159"/>
                  </a:lnTo>
                  <a:lnTo>
                    <a:pt x="784952" y="192796"/>
                  </a:lnTo>
                  <a:lnTo>
                    <a:pt x="829019" y="14322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grpSp>
      <p:sp>
        <p:nvSpPr>
          <p:cNvPr id="32785" name="Line 13"/>
          <p:cNvSpPr>
            <a:spLocks noChangeShapeType="1"/>
          </p:cNvSpPr>
          <p:nvPr/>
        </p:nvSpPr>
        <p:spPr bwMode="auto">
          <a:xfrm>
            <a:off x="2247900" y="2884488"/>
            <a:ext cx="1439863" cy="280987"/>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86" name="Line 13"/>
          <p:cNvSpPr>
            <a:spLocks noChangeShapeType="1"/>
          </p:cNvSpPr>
          <p:nvPr/>
        </p:nvSpPr>
        <p:spPr bwMode="auto">
          <a:xfrm>
            <a:off x="4559300" y="1970088"/>
            <a:ext cx="55563" cy="901700"/>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87" name="Line 13"/>
          <p:cNvSpPr>
            <a:spLocks noChangeShapeType="1"/>
          </p:cNvSpPr>
          <p:nvPr/>
        </p:nvSpPr>
        <p:spPr bwMode="auto">
          <a:xfrm flipV="1">
            <a:off x="2247900" y="3325813"/>
            <a:ext cx="2379663" cy="1935162"/>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88" name="Line 13"/>
          <p:cNvSpPr>
            <a:spLocks noChangeShapeType="1"/>
          </p:cNvSpPr>
          <p:nvPr/>
        </p:nvSpPr>
        <p:spPr bwMode="auto">
          <a:xfrm flipV="1">
            <a:off x="2247900" y="3113088"/>
            <a:ext cx="2589213" cy="1322387"/>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89" name="Line 13"/>
          <p:cNvSpPr>
            <a:spLocks noChangeShapeType="1"/>
          </p:cNvSpPr>
          <p:nvPr/>
        </p:nvSpPr>
        <p:spPr bwMode="auto">
          <a:xfrm flipV="1">
            <a:off x="2133600" y="3344863"/>
            <a:ext cx="2100263" cy="204787"/>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90" name="Line 19"/>
          <p:cNvSpPr>
            <a:spLocks noChangeShapeType="1"/>
          </p:cNvSpPr>
          <p:nvPr/>
        </p:nvSpPr>
        <p:spPr bwMode="auto">
          <a:xfrm flipH="1">
            <a:off x="5681663" y="1919288"/>
            <a:ext cx="628650" cy="1681162"/>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91" name="Line 19"/>
          <p:cNvSpPr>
            <a:spLocks noChangeShapeType="1"/>
          </p:cNvSpPr>
          <p:nvPr/>
        </p:nvSpPr>
        <p:spPr bwMode="auto">
          <a:xfrm flipH="1">
            <a:off x="5813425" y="2455863"/>
            <a:ext cx="1814513" cy="1214437"/>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92" name="Line 19"/>
          <p:cNvSpPr>
            <a:spLocks noChangeShapeType="1"/>
          </p:cNvSpPr>
          <p:nvPr/>
        </p:nvSpPr>
        <p:spPr bwMode="auto">
          <a:xfrm flipH="1">
            <a:off x="5872163" y="3024188"/>
            <a:ext cx="1665287" cy="712787"/>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93" name="Line 19"/>
          <p:cNvSpPr>
            <a:spLocks noChangeShapeType="1"/>
          </p:cNvSpPr>
          <p:nvPr/>
        </p:nvSpPr>
        <p:spPr bwMode="auto">
          <a:xfrm flipH="1" flipV="1">
            <a:off x="5235575" y="3600450"/>
            <a:ext cx="2338388" cy="738188"/>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94" name="Line 19"/>
          <p:cNvSpPr>
            <a:spLocks noChangeShapeType="1"/>
          </p:cNvSpPr>
          <p:nvPr/>
        </p:nvSpPr>
        <p:spPr bwMode="auto">
          <a:xfrm flipH="1" flipV="1">
            <a:off x="5927725" y="4481513"/>
            <a:ext cx="1638300" cy="566737"/>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95" name="Line 19"/>
          <p:cNvSpPr>
            <a:spLocks noChangeShapeType="1"/>
          </p:cNvSpPr>
          <p:nvPr/>
        </p:nvSpPr>
        <p:spPr bwMode="auto">
          <a:xfrm flipH="1" flipV="1">
            <a:off x="5681663" y="4292600"/>
            <a:ext cx="825500" cy="1295400"/>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96" name="Line 19"/>
          <p:cNvSpPr>
            <a:spLocks noChangeShapeType="1"/>
          </p:cNvSpPr>
          <p:nvPr/>
        </p:nvSpPr>
        <p:spPr bwMode="auto">
          <a:xfrm flipH="1" flipV="1">
            <a:off x="4995863" y="4584700"/>
            <a:ext cx="290512" cy="1233488"/>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97" name="Line 13"/>
          <p:cNvSpPr>
            <a:spLocks noChangeShapeType="1"/>
          </p:cNvSpPr>
          <p:nvPr/>
        </p:nvSpPr>
        <p:spPr bwMode="auto">
          <a:xfrm>
            <a:off x="2546350" y="2025650"/>
            <a:ext cx="1027113" cy="676275"/>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798" name="Text Box 10"/>
          <p:cNvSpPr txBox="1">
            <a:spLocks noChangeArrowheads="1"/>
          </p:cNvSpPr>
          <p:nvPr/>
        </p:nvSpPr>
        <p:spPr bwMode="auto">
          <a:xfrm>
            <a:off x="3667125" y="1492250"/>
            <a:ext cx="1803400" cy="436563"/>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lnSpc>
                <a:spcPct val="80000"/>
              </a:lnSpc>
              <a:defRPr/>
            </a:pPr>
            <a:r>
              <a:rPr lang="es-ES_tradnl" altLang="es-ES_tradnl" sz="1400" dirty="0">
                <a:solidFill>
                  <a:schemeClr val="tx1"/>
                </a:solidFill>
                <a:latin typeface="+mn-lt"/>
              </a:rPr>
              <a:t>Universidad Nacional de Córdoba</a:t>
            </a:r>
          </a:p>
        </p:txBody>
      </p:sp>
      <p:sp>
        <p:nvSpPr>
          <p:cNvPr id="32799" name="Text Box 24"/>
          <p:cNvSpPr txBox="1">
            <a:spLocks noChangeArrowheads="1"/>
          </p:cNvSpPr>
          <p:nvPr/>
        </p:nvSpPr>
        <p:spPr bwMode="auto">
          <a:xfrm>
            <a:off x="7396163" y="3351213"/>
            <a:ext cx="2271712" cy="522287"/>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1400">
                <a:solidFill>
                  <a:schemeClr val="tx1"/>
                </a:solidFill>
                <a:latin typeface="+mn-lt"/>
              </a:rPr>
              <a:t>Universidad Nacional de Lomas de Zamora</a:t>
            </a:r>
          </a:p>
        </p:txBody>
      </p:sp>
      <p:sp>
        <p:nvSpPr>
          <p:cNvPr id="32800" name="Line 19"/>
          <p:cNvSpPr>
            <a:spLocks noChangeShapeType="1"/>
          </p:cNvSpPr>
          <p:nvPr/>
        </p:nvSpPr>
        <p:spPr bwMode="auto">
          <a:xfrm flipH="1">
            <a:off x="6024563" y="3644900"/>
            <a:ext cx="1512887" cy="244475"/>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801" name="Line 19"/>
          <p:cNvSpPr>
            <a:spLocks noChangeShapeType="1"/>
          </p:cNvSpPr>
          <p:nvPr/>
        </p:nvSpPr>
        <p:spPr bwMode="auto">
          <a:xfrm flipH="1">
            <a:off x="5768975" y="1790700"/>
            <a:ext cx="2022475" cy="1712913"/>
          </a:xfrm>
          <a:prstGeom prst="line">
            <a:avLst/>
          </a:prstGeom>
          <a:noFill/>
          <a:ln w="12700">
            <a:solidFill>
              <a:schemeClr val="tx1"/>
            </a:solidFill>
            <a:round/>
            <a:headEnd type="triangle" w="med" len="med"/>
            <a:tailEnd/>
          </a:ln>
          <a:extLst/>
        </p:spPr>
        <p:txBody>
          <a:bodyPr wrap="none"/>
          <a:lstStyle/>
          <a:p>
            <a:pPr>
              <a:defRPr/>
            </a:pPr>
            <a:endParaRPr lang="es-AR" sz="1400">
              <a:latin typeface="+mn-lt"/>
              <a:cs typeface="Arial" charset="0"/>
            </a:endParaRPr>
          </a:p>
        </p:txBody>
      </p:sp>
      <p:sp>
        <p:nvSpPr>
          <p:cNvPr id="32802" name="Text Box 23"/>
          <p:cNvSpPr txBox="1">
            <a:spLocks noChangeArrowheads="1"/>
          </p:cNvSpPr>
          <p:nvPr/>
        </p:nvSpPr>
        <p:spPr bwMode="auto">
          <a:xfrm>
            <a:off x="7316788" y="1395413"/>
            <a:ext cx="2589212" cy="522287"/>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1400">
                <a:solidFill>
                  <a:schemeClr val="tx1"/>
                </a:solidFill>
                <a:latin typeface="+mn-lt"/>
              </a:rPr>
              <a:t>Universidad </a:t>
            </a:r>
          </a:p>
          <a:p>
            <a:pPr algn="ctr">
              <a:defRPr/>
            </a:pPr>
            <a:r>
              <a:rPr lang="es-ES_tradnl" altLang="es-ES_tradnl" sz="1400">
                <a:solidFill>
                  <a:schemeClr val="tx1"/>
                </a:solidFill>
                <a:latin typeface="+mn-lt"/>
              </a:rPr>
              <a:t>de Buenos Aires</a:t>
            </a:r>
          </a:p>
        </p:txBody>
      </p:sp>
      <p:sp>
        <p:nvSpPr>
          <p:cNvPr id="31777"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618F8A45-A27A-498A-ACF0-0351A095DC82}" type="slidenum">
              <a:rPr lang="es-ES_tradnl" altLang="es-AR" sz="1000" i="1">
                <a:solidFill>
                  <a:srgbClr val="000000"/>
                </a:solidFill>
                <a:latin typeface="Verdana" panose="020B0604030504040204" pitchFamily="34" charset="0"/>
              </a:rPr>
              <a:pPr algn="r" eaLnBrk="1" hangingPunct="1">
                <a:spcBef>
                  <a:spcPct val="0"/>
                </a:spcBef>
                <a:buFontTx/>
                <a:buNone/>
              </a:pPr>
              <a:t>29</a:t>
            </a:fld>
            <a:endParaRPr lang="es-ES_tradnl" altLang="es-AR" sz="1000" i="1">
              <a:solidFill>
                <a:srgbClr val="000000"/>
              </a:solidFill>
              <a:latin typeface="Verdana" panose="020B0604030504040204" pitchFamily="34" charset="0"/>
            </a:endParaRPr>
          </a:p>
        </p:txBody>
      </p:sp>
      <p:sp>
        <p:nvSpPr>
          <p:cNvPr id="42" name="Rectangle 4"/>
          <p:cNvSpPr txBox="1">
            <a:spLocks noChangeArrowheads="1"/>
          </p:cNvSpPr>
          <p:nvPr/>
        </p:nvSpPr>
        <p:spPr bwMode="auto">
          <a:xfrm>
            <a:off x="0" y="274638"/>
            <a:ext cx="8915400" cy="768350"/>
          </a:xfrm>
          <a:prstGeom prst="rect">
            <a:avLst/>
          </a:prstGeom>
          <a:noFill/>
          <a:ln>
            <a:noFill/>
          </a:ln>
          <a:extLst/>
        </p:spPr>
        <p:txBody>
          <a:bodyPr anchor="ctr"/>
          <a:lstStyle>
            <a:lvl1pPr algn="ctr" rtl="0" eaLnBrk="0" fontAlgn="base" hangingPunct="0">
              <a:spcBef>
                <a:spcPct val="0"/>
              </a:spcBef>
              <a:spcAft>
                <a:spcPct val="0"/>
              </a:spcAft>
              <a:defRPr sz="4400" b="1" kern="1200">
                <a:solidFill>
                  <a:schemeClr val="tx1"/>
                </a:solidFill>
                <a:latin typeface="Baskerville Old Face" pitchFamily="18" charset="0"/>
                <a:ea typeface="+mj-ea"/>
                <a:cs typeface="+mj-cs"/>
              </a:defRPr>
            </a:lvl1pPr>
            <a:lvl2pPr algn="ctr" rtl="0" eaLnBrk="0" fontAlgn="base" hangingPunct="0">
              <a:spcBef>
                <a:spcPct val="0"/>
              </a:spcBef>
              <a:spcAft>
                <a:spcPct val="0"/>
              </a:spcAft>
              <a:defRPr sz="4400" b="1">
                <a:solidFill>
                  <a:schemeClr val="tx1"/>
                </a:solidFill>
                <a:latin typeface="Baskerville Old Face" pitchFamily="18" charset="0"/>
              </a:defRPr>
            </a:lvl2pPr>
            <a:lvl3pPr algn="ctr" rtl="0" eaLnBrk="0" fontAlgn="base" hangingPunct="0">
              <a:spcBef>
                <a:spcPct val="0"/>
              </a:spcBef>
              <a:spcAft>
                <a:spcPct val="0"/>
              </a:spcAft>
              <a:defRPr sz="4400" b="1">
                <a:solidFill>
                  <a:schemeClr val="tx1"/>
                </a:solidFill>
                <a:latin typeface="Baskerville Old Face" pitchFamily="18" charset="0"/>
              </a:defRPr>
            </a:lvl3pPr>
            <a:lvl4pPr algn="ctr" rtl="0" eaLnBrk="0" fontAlgn="base" hangingPunct="0">
              <a:spcBef>
                <a:spcPct val="0"/>
              </a:spcBef>
              <a:spcAft>
                <a:spcPct val="0"/>
              </a:spcAft>
              <a:defRPr sz="4400" b="1">
                <a:solidFill>
                  <a:schemeClr val="tx1"/>
                </a:solidFill>
                <a:latin typeface="Baskerville Old Face" pitchFamily="18" charset="0"/>
              </a:defRPr>
            </a:lvl4pPr>
            <a:lvl5pPr algn="ctr" rtl="0" eaLnBrk="0" fontAlgn="base" hangingPunct="0">
              <a:spcBef>
                <a:spcPct val="0"/>
              </a:spcBef>
              <a:spcAft>
                <a:spcPct val="0"/>
              </a:spcAft>
              <a:defRPr sz="4400" b="1">
                <a:solidFill>
                  <a:schemeClr val="tx1"/>
                </a:solidFill>
                <a:latin typeface="Baskerville Old Face" pitchFamily="18" charset="0"/>
              </a:defRPr>
            </a:lvl5pPr>
            <a:lvl6pPr marL="457200" algn="ctr" rtl="0" eaLnBrk="1" fontAlgn="base" hangingPunct="1">
              <a:spcBef>
                <a:spcPct val="0"/>
              </a:spcBef>
              <a:spcAft>
                <a:spcPct val="0"/>
              </a:spcAft>
              <a:defRPr sz="4400" b="1">
                <a:solidFill>
                  <a:schemeClr val="tx1"/>
                </a:solidFill>
                <a:latin typeface="Baskerville Old Face" pitchFamily="18" charset="0"/>
              </a:defRPr>
            </a:lvl6pPr>
            <a:lvl7pPr marL="914400" algn="ctr" rtl="0" eaLnBrk="1" fontAlgn="base" hangingPunct="1">
              <a:spcBef>
                <a:spcPct val="0"/>
              </a:spcBef>
              <a:spcAft>
                <a:spcPct val="0"/>
              </a:spcAft>
              <a:defRPr sz="4400" b="1">
                <a:solidFill>
                  <a:schemeClr val="tx1"/>
                </a:solidFill>
                <a:latin typeface="Baskerville Old Face" pitchFamily="18" charset="0"/>
              </a:defRPr>
            </a:lvl7pPr>
            <a:lvl8pPr marL="1371600" algn="ctr" rtl="0" eaLnBrk="1" fontAlgn="base" hangingPunct="1">
              <a:spcBef>
                <a:spcPct val="0"/>
              </a:spcBef>
              <a:spcAft>
                <a:spcPct val="0"/>
              </a:spcAft>
              <a:defRPr sz="4400" b="1">
                <a:solidFill>
                  <a:schemeClr val="tx1"/>
                </a:solidFill>
                <a:latin typeface="Baskerville Old Face" pitchFamily="18" charset="0"/>
              </a:defRPr>
            </a:lvl8pPr>
            <a:lvl9pPr marL="1828800" algn="ctr" rtl="0" eaLnBrk="1" fontAlgn="base" hangingPunct="1">
              <a:spcBef>
                <a:spcPct val="0"/>
              </a:spcBef>
              <a:spcAft>
                <a:spcPct val="0"/>
              </a:spcAft>
              <a:defRPr sz="4400" b="1">
                <a:solidFill>
                  <a:schemeClr val="tx1"/>
                </a:solidFill>
                <a:latin typeface="Baskerville Old Face" pitchFamily="18" charset="0"/>
              </a:defRPr>
            </a:lvl9pPr>
          </a:lstStyle>
          <a:p>
            <a:pPr>
              <a:defRPr/>
            </a:pPr>
            <a:r>
              <a:rPr lang="es-AR" altLang="es-ES_tradnl" sz="4000" dirty="0">
                <a:solidFill>
                  <a:srgbClr val="000066"/>
                </a:solidFill>
                <a:latin typeface="+mj-lt"/>
              </a:rPr>
              <a:t>Sedes del CELU en Argentina</a:t>
            </a:r>
            <a:br>
              <a:rPr lang="es-AR" altLang="es-ES_tradnl" sz="4000" dirty="0">
                <a:solidFill>
                  <a:srgbClr val="000066"/>
                </a:solidFill>
                <a:latin typeface="+mj-lt"/>
              </a:rPr>
            </a:br>
            <a:r>
              <a:rPr lang="es-AR" altLang="es-ES_tradnl" sz="4000" dirty="0">
                <a:solidFill>
                  <a:srgbClr val="000066"/>
                </a:solidFill>
                <a:latin typeface="+mj-lt"/>
              </a:rPr>
              <a:t>Región Centro</a:t>
            </a:r>
            <a:endParaRPr lang="es-ES" altLang="es-ES_tradnl" sz="4000" dirty="0">
              <a:solidFill>
                <a:srgbClr val="000066"/>
              </a:solidFill>
              <a:latin typeface="+mj-lt"/>
            </a:endParaRPr>
          </a:p>
        </p:txBody>
      </p:sp>
    </p:spTree>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F18E979A-1557-46CC-A084-21CE69F0D062}" type="slidenum">
              <a:rPr lang="es-ES_tradnl" altLang="es-AR" sz="1000" i="1">
                <a:solidFill>
                  <a:srgbClr val="000000"/>
                </a:solidFill>
                <a:latin typeface="Verdana" panose="020B0604030504040204" pitchFamily="34" charset="0"/>
              </a:rPr>
              <a:pPr algn="r" eaLnBrk="1" hangingPunct="1">
                <a:spcBef>
                  <a:spcPct val="0"/>
                </a:spcBef>
                <a:buFontTx/>
                <a:buNone/>
              </a:pPr>
              <a:t>3</a:t>
            </a:fld>
            <a:endParaRPr lang="es-ES_tradnl" altLang="es-AR" sz="1000" i="1">
              <a:solidFill>
                <a:srgbClr val="000000"/>
              </a:solidFill>
              <a:latin typeface="Verdana" panose="020B0604030504040204" pitchFamily="34" charset="0"/>
            </a:endParaRPr>
          </a:p>
        </p:txBody>
      </p:sp>
      <p:sp>
        <p:nvSpPr>
          <p:cNvPr id="5123" name="Rectangle 3"/>
          <p:cNvSpPr txBox="1">
            <a:spLocks/>
          </p:cNvSpPr>
          <p:nvPr/>
        </p:nvSpPr>
        <p:spPr bwMode="auto">
          <a:xfrm>
            <a:off x="669925" y="2795588"/>
            <a:ext cx="8915400" cy="29448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342900" indent="-342900"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a:buFont typeface="Arial" panose="020B0604020202020204" pitchFamily="34" charset="0"/>
              <a:buNone/>
            </a:pPr>
            <a:r>
              <a:rPr lang="es-ES" altLang="es-AR" sz="4800" b="1">
                <a:solidFill>
                  <a:srgbClr val="000066"/>
                </a:solidFill>
              </a:rPr>
              <a:t>El examen</a:t>
            </a:r>
          </a:p>
          <a:p>
            <a:pPr>
              <a:buFont typeface="Arial" panose="020B0604020202020204" pitchFamily="34" charset="0"/>
              <a:buNone/>
            </a:pPr>
            <a:endParaRPr lang="es-ES" altLang="es-AR" sz="2800" b="1">
              <a:solidFill>
                <a:srgbClr val="000066"/>
              </a:solidFill>
            </a:endParaRPr>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4"/>
          <p:cNvSpPr>
            <a:spLocks noGrp="1" noChangeArrowheads="1"/>
          </p:cNvSpPr>
          <p:nvPr>
            <p:ph type="title" idx="4294967295"/>
          </p:nvPr>
        </p:nvSpPr>
        <p:spPr>
          <a:xfrm>
            <a:off x="0" y="274638"/>
            <a:ext cx="8915400" cy="768350"/>
          </a:xfrm>
        </p:spPr>
        <p:txBody>
          <a:bodyPr/>
          <a:lstStyle/>
          <a:p>
            <a:pPr>
              <a:defRPr/>
            </a:pPr>
            <a:r>
              <a:rPr lang="es-AR" altLang="es-ES_tradnl" sz="4000" dirty="0">
                <a:solidFill>
                  <a:srgbClr val="000066"/>
                </a:solidFill>
                <a:latin typeface="+mj-lt"/>
              </a:rPr>
              <a:t>Sedes del CELU en Argentina</a:t>
            </a:r>
            <a:br>
              <a:rPr lang="es-AR" altLang="es-ES_tradnl" sz="4000" dirty="0">
                <a:solidFill>
                  <a:srgbClr val="000066"/>
                </a:solidFill>
                <a:latin typeface="+mj-lt"/>
              </a:rPr>
            </a:br>
            <a:r>
              <a:rPr lang="es-AR" altLang="es-ES_tradnl" sz="4000" dirty="0">
                <a:solidFill>
                  <a:srgbClr val="000066"/>
                </a:solidFill>
                <a:latin typeface="+mj-lt"/>
              </a:rPr>
              <a:t>Región Sur</a:t>
            </a:r>
            <a:endParaRPr lang="es-ES" altLang="es-ES_tradnl" sz="4000" dirty="0">
              <a:solidFill>
                <a:srgbClr val="000066"/>
              </a:solidFill>
              <a:latin typeface="+mj-lt"/>
            </a:endParaRPr>
          </a:p>
        </p:txBody>
      </p:sp>
      <p:sp>
        <p:nvSpPr>
          <p:cNvPr id="55" name="Freeform 43"/>
          <p:cNvSpPr/>
          <p:nvPr/>
        </p:nvSpPr>
        <p:spPr>
          <a:xfrm>
            <a:off x="5684838" y="2917825"/>
            <a:ext cx="141287" cy="168275"/>
          </a:xfrm>
          <a:custGeom>
            <a:avLst/>
            <a:gdLst>
              <a:gd name="connsiteX0" fmla="*/ 61783 w 74140"/>
              <a:gd name="connsiteY0" fmla="*/ 0 h 148281"/>
              <a:gd name="connsiteX1" fmla="*/ 0 w 74140"/>
              <a:gd name="connsiteY1" fmla="*/ 30891 h 148281"/>
              <a:gd name="connsiteX2" fmla="*/ 6178 w 74140"/>
              <a:gd name="connsiteY2" fmla="*/ 142102 h 148281"/>
              <a:gd name="connsiteX3" fmla="*/ 74140 w 74140"/>
              <a:gd name="connsiteY3" fmla="*/ 148281 h 148281"/>
              <a:gd name="connsiteX4" fmla="*/ 61783 w 74140"/>
              <a:gd name="connsiteY4" fmla="*/ 0 h 148281"/>
              <a:gd name="connsiteX0" fmla="*/ 105149 w 117506"/>
              <a:gd name="connsiteY0" fmla="*/ 0 h 148281"/>
              <a:gd name="connsiteX1" fmla="*/ 43366 w 117506"/>
              <a:gd name="connsiteY1" fmla="*/ 30891 h 148281"/>
              <a:gd name="connsiteX2" fmla="*/ 0 w 117506"/>
              <a:gd name="connsiteY2" fmla="*/ 66275 h 148281"/>
              <a:gd name="connsiteX3" fmla="*/ 49544 w 117506"/>
              <a:gd name="connsiteY3" fmla="*/ 142102 h 148281"/>
              <a:gd name="connsiteX4" fmla="*/ 117506 w 117506"/>
              <a:gd name="connsiteY4" fmla="*/ 148281 h 148281"/>
              <a:gd name="connsiteX5" fmla="*/ 105149 w 117506"/>
              <a:gd name="connsiteY5" fmla="*/ 0 h 148281"/>
              <a:gd name="connsiteX0" fmla="*/ 105149 w 117506"/>
              <a:gd name="connsiteY0" fmla="*/ 0 h 148281"/>
              <a:gd name="connsiteX1" fmla="*/ 43366 w 117506"/>
              <a:gd name="connsiteY1" fmla="*/ 30891 h 148281"/>
              <a:gd name="connsiteX2" fmla="*/ 0 w 117506"/>
              <a:gd name="connsiteY2" fmla="*/ 66275 h 148281"/>
              <a:gd name="connsiteX3" fmla="*/ 47024 w 117506"/>
              <a:gd name="connsiteY3" fmla="*/ 91629 h 148281"/>
              <a:gd name="connsiteX4" fmla="*/ 49544 w 117506"/>
              <a:gd name="connsiteY4" fmla="*/ 142102 h 148281"/>
              <a:gd name="connsiteX5" fmla="*/ 117506 w 117506"/>
              <a:gd name="connsiteY5" fmla="*/ 148281 h 148281"/>
              <a:gd name="connsiteX6" fmla="*/ 105149 w 117506"/>
              <a:gd name="connsiteY6" fmla="*/ 0 h 148281"/>
              <a:gd name="connsiteX0" fmla="*/ 110952 w 123309"/>
              <a:gd name="connsiteY0" fmla="*/ 0 h 148281"/>
              <a:gd name="connsiteX1" fmla="*/ 49169 w 123309"/>
              <a:gd name="connsiteY1" fmla="*/ 30891 h 148281"/>
              <a:gd name="connsiteX2" fmla="*/ 5803 w 123309"/>
              <a:gd name="connsiteY2" fmla="*/ 66275 h 148281"/>
              <a:gd name="connsiteX3" fmla="*/ 3666 w 123309"/>
              <a:gd name="connsiteY3" fmla="*/ 93743 h 148281"/>
              <a:gd name="connsiteX4" fmla="*/ 52827 w 123309"/>
              <a:gd name="connsiteY4" fmla="*/ 91629 h 148281"/>
              <a:gd name="connsiteX5" fmla="*/ 55347 w 123309"/>
              <a:gd name="connsiteY5" fmla="*/ 142102 h 148281"/>
              <a:gd name="connsiteX6" fmla="*/ 123309 w 123309"/>
              <a:gd name="connsiteY6" fmla="*/ 148281 h 148281"/>
              <a:gd name="connsiteX7" fmla="*/ 110952 w 123309"/>
              <a:gd name="connsiteY7" fmla="*/ 0 h 148281"/>
              <a:gd name="connsiteX0" fmla="*/ 110952 w 123309"/>
              <a:gd name="connsiteY0" fmla="*/ 0 h 148281"/>
              <a:gd name="connsiteX1" fmla="*/ 51306 w 123309"/>
              <a:gd name="connsiteY1" fmla="*/ 5537 h 148281"/>
              <a:gd name="connsiteX2" fmla="*/ 5803 w 123309"/>
              <a:gd name="connsiteY2" fmla="*/ 66275 h 148281"/>
              <a:gd name="connsiteX3" fmla="*/ 3666 w 123309"/>
              <a:gd name="connsiteY3" fmla="*/ 93743 h 148281"/>
              <a:gd name="connsiteX4" fmla="*/ 52827 w 123309"/>
              <a:gd name="connsiteY4" fmla="*/ 91629 h 148281"/>
              <a:gd name="connsiteX5" fmla="*/ 55347 w 123309"/>
              <a:gd name="connsiteY5" fmla="*/ 142102 h 148281"/>
              <a:gd name="connsiteX6" fmla="*/ 123309 w 123309"/>
              <a:gd name="connsiteY6" fmla="*/ 148281 h 148281"/>
              <a:gd name="connsiteX7" fmla="*/ 110952 w 123309"/>
              <a:gd name="connsiteY7" fmla="*/ 0 h 148281"/>
              <a:gd name="connsiteX0" fmla="*/ 110952 w 123309"/>
              <a:gd name="connsiteY0" fmla="*/ 0 h 148281"/>
              <a:gd name="connsiteX1" fmla="*/ 51306 w 123309"/>
              <a:gd name="connsiteY1" fmla="*/ 5537 h 148281"/>
              <a:gd name="connsiteX2" fmla="*/ 54965 w 123309"/>
              <a:gd name="connsiteY2" fmla="*/ 43034 h 148281"/>
              <a:gd name="connsiteX3" fmla="*/ 5803 w 123309"/>
              <a:gd name="connsiteY3" fmla="*/ 66275 h 148281"/>
              <a:gd name="connsiteX4" fmla="*/ 3666 w 123309"/>
              <a:gd name="connsiteY4" fmla="*/ 93743 h 148281"/>
              <a:gd name="connsiteX5" fmla="*/ 52827 w 123309"/>
              <a:gd name="connsiteY5" fmla="*/ 91629 h 148281"/>
              <a:gd name="connsiteX6" fmla="*/ 55347 w 123309"/>
              <a:gd name="connsiteY6" fmla="*/ 142102 h 148281"/>
              <a:gd name="connsiteX7" fmla="*/ 123309 w 123309"/>
              <a:gd name="connsiteY7" fmla="*/ 148281 h 148281"/>
              <a:gd name="connsiteX8" fmla="*/ 110952 w 123309"/>
              <a:gd name="connsiteY8" fmla="*/ 0 h 148281"/>
              <a:gd name="connsiteX0" fmla="*/ 113743 w 126100"/>
              <a:gd name="connsiteY0" fmla="*/ 0 h 148281"/>
              <a:gd name="connsiteX1" fmla="*/ 54097 w 126100"/>
              <a:gd name="connsiteY1" fmla="*/ 5537 h 148281"/>
              <a:gd name="connsiteX2" fmla="*/ 57756 w 126100"/>
              <a:gd name="connsiteY2" fmla="*/ 43034 h 148281"/>
              <a:gd name="connsiteX3" fmla="*/ 2182 w 126100"/>
              <a:gd name="connsiteY3" fmla="*/ 62048 h 148281"/>
              <a:gd name="connsiteX4" fmla="*/ 6457 w 126100"/>
              <a:gd name="connsiteY4" fmla="*/ 93743 h 148281"/>
              <a:gd name="connsiteX5" fmla="*/ 55618 w 126100"/>
              <a:gd name="connsiteY5" fmla="*/ 91629 h 148281"/>
              <a:gd name="connsiteX6" fmla="*/ 58138 w 126100"/>
              <a:gd name="connsiteY6" fmla="*/ 142102 h 148281"/>
              <a:gd name="connsiteX7" fmla="*/ 126100 w 126100"/>
              <a:gd name="connsiteY7" fmla="*/ 148281 h 148281"/>
              <a:gd name="connsiteX8" fmla="*/ 113743 w 126100"/>
              <a:gd name="connsiteY8" fmla="*/ 0 h 148281"/>
              <a:gd name="connsiteX0" fmla="*/ 112726 w 125083"/>
              <a:gd name="connsiteY0" fmla="*/ 0 h 148281"/>
              <a:gd name="connsiteX1" fmla="*/ 53080 w 125083"/>
              <a:gd name="connsiteY1" fmla="*/ 5537 h 148281"/>
              <a:gd name="connsiteX2" fmla="*/ 56739 w 125083"/>
              <a:gd name="connsiteY2" fmla="*/ 43034 h 148281"/>
              <a:gd name="connsiteX3" fmla="*/ 1165 w 125083"/>
              <a:gd name="connsiteY3" fmla="*/ 62048 h 148281"/>
              <a:gd name="connsiteX4" fmla="*/ 9716 w 125083"/>
              <a:gd name="connsiteY4" fmla="*/ 104308 h 148281"/>
              <a:gd name="connsiteX5" fmla="*/ 54601 w 125083"/>
              <a:gd name="connsiteY5" fmla="*/ 91629 h 148281"/>
              <a:gd name="connsiteX6" fmla="*/ 57121 w 125083"/>
              <a:gd name="connsiteY6" fmla="*/ 142102 h 148281"/>
              <a:gd name="connsiteX7" fmla="*/ 125083 w 125083"/>
              <a:gd name="connsiteY7" fmla="*/ 148281 h 148281"/>
              <a:gd name="connsiteX8" fmla="*/ 112726 w 125083"/>
              <a:gd name="connsiteY8" fmla="*/ 0 h 148281"/>
              <a:gd name="connsiteX0" fmla="*/ 114612 w 126969"/>
              <a:gd name="connsiteY0" fmla="*/ 0 h 148281"/>
              <a:gd name="connsiteX1" fmla="*/ 54966 w 126969"/>
              <a:gd name="connsiteY1" fmla="*/ 5537 h 148281"/>
              <a:gd name="connsiteX2" fmla="*/ 58625 w 126969"/>
              <a:gd name="connsiteY2" fmla="*/ 43034 h 148281"/>
              <a:gd name="connsiteX3" fmla="*/ 914 w 126969"/>
              <a:gd name="connsiteY3" fmla="*/ 55709 h 148281"/>
              <a:gd name="connsiteX4" fmla="*/ 11602 w 126969"/>
              <a:gd name="connsiteY4" fmla="*/ 104308 h 148281"/>
              <a:gd name="connsiteX5" fmla="*/ 56487 w 126969"/>
              <a:gd name="connsiteY5" fmla="*/ 91629 h 148281"/>
              <a:gd name="connsiteX6" fmla="*/ 59007 w 126969"/>
              <a:gd name="connsiteY6" fmla="*/ 142102 h 148281"/>
              <a:gd name="connsiteX7" fmla="*/ 126969 w 126969"/>
              <a:gd name="connsiteY7" fmla="*/ 148281 h 148281"/>
              <a:gd name="connsiteX8" fmla="*/ 114612 w 126969"/>
              <a:gd name="connsiteY8" fmla="*/ 0 h 1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969" h="148281">
                <a:moveTo>
                  <a:pt x="114612" y="0"/>
                </a:moveTo>
                <a:lnTo>
                  <a:pt x="54966" y="5537"/>
                </a:lnTo>
                <a:cubicBezTo>
                  <a:pt x="41716" y="10949"/>
                  <a:pt x="66209" y="32911"/>
                  <a:pt x="58625" y="43034"/>
                </a:cubicBezTo>
                <a:cubicBezTo>
                  <a:pt x="51041" y="53157"/>
                  <a:pt x="5545" y="45497"/>
                  <a:pt x="914" y="55709"/>
                </a:cubicBezTo>
                <a:cubicBezTo>
                  <a:pt x="-2395" y="63367"/>
                  <a:pt x="3765" y="100082"/>
                  <a:pt x="11602" y="104308"/>
                </a:cubicBezTo>
                <a:cubicBezTo>
                  <a:pt x="19439" y="108534"/>
                  <a:pt x="52148" y="80752"/>
                  <a:pt x="56487" y="91629"/>
                </a:cubicBezTo>
                <a:lnTo>
                  <a:pt x="59007" y="142102"/>
                </a:lnTo>
                <a:lnTo>
                  <a:pt x="126969" y="148281"/>
                </a:lnTo>
                <a:lnTo>
                  <a:pt x="114612"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56" name="Freeform 44"/>
          <p:cNvSpPr/>
          <p:nvPr/>
        </p:nvSpPr>
        <p:spPr>
          <a:xfrm>
            <a:off x="5800725" y="5999163"/>
            <a:ext cx="123825" cy="55562"/>
          </a:xfrm>
          <a:custGeom>
            <a:avLst/>
            <a:gdLst>
              <a:gd name="connsiteX0" fmla="*/ 18535 w 111211"/>
              <a:gd name="connsiteY0" fmla="*/ 0 h 49427"/>
              <a:gd name="connsiteX1" fmla="*/ 0 w 111211"/>
              <a:gd name="connsiteY1" fmla="*/ 49427 h 49427"/>
              <a:gd name="connsiteX2" fmla="*/ 61784 w 111211"/>
              <a:gd name="connsiteY2" fmla="*/ 37070 h 49427"/>
              <a:gd name="connsiteX3" fmla="*/ 111211 w 111211"/>
              <a:gd name="connsiteY3" fmla="*/ 0 h 49427"/>
              <a:gd name="connsiteX4" fmla="*/ 18535 w 111211"/>
              <a:gd name="connsiteY4" fmla="*/ 0 h 49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1" h="49427">
                <a:moveTo>
                  <a:pt x="18535" y="0"/>
                </a:moveTo>
                <a:lnTo>
                  <a:pt x="0" y="49427"/>
                </a:lnTo>
                <a:lnTo>
                  <a:pt x="61784" y="37070"/>
                </a:lnTo>
                <a:lnTo>
                  <a:pt x="111211" y="0"/>
                </a:lnTo>
                <a:lnTo>
                  <a:pt x="18535"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62" name="Freeform 5"/>
          <p:cNvSpPr/>
          <p:nvPr/>
        </p:nvSpPr>
        <p:spPr>
          <a:xfrm>
            <a:off x="5202238" y="5545138"/>
            <a:ext cx="541337" cy="546100"/>
          </a:xfrm>
          <a:custGeom>
            <a:avLst/>
            <a:gdLst>
              <a:gd name="connsiteX0" fmla="*/ 0 w 481913"/>
              <a:gd name="connsiteY0" fmla="*/ 0 h 488091"/>
              <a:gd name="connsiteX1" fmla="*/ 74140 w 481913"/>
              <a:gd name="connsiteY1" fmla="*/ 475735 h 488091"/>
              <a:gd name="connsiteX2" fmla="*/ 191529 w 481913"/>
              <a:gd name="connsiteY2" fmla="*/ 457200 h 488091"/>
              <a:gd name="connsiteX3" fmla="*/ 333632 w 481913"/>
              <a:gd name="connsiteY3" fmla="*/ 488091 h 488091"/>
              <a:gd name="connsiteX4" fmla="*/ 420129 w 481913"/>
              <a:gd name="connsiteY4" fmla="*/ 457200 h 488091"/>
              <a:gd name="connsiteX5" fmla="*/ 481913 w 481913"/>
              <a:gd name="connsiteY5" fmla="*/ 383059 h 488091"/>
              <a:gd name="connsiteX6" fmla="*/ 364524 w 481913"/>
              <a:gd name="connsiteY6" fmla="*/ 407772 h 488091"/>
              <a:gd name="connsiteX7" fmla="*/ 228600 w 481913"/>
              <a:gd name="connsiteY7" fmla="*/ 327454 h 488091"/>
              <a:gd name="connsiteX8" fmla="*/ 135924 w 481913"/>
              <a:gd name="connsiteY8" fmla="*/ 210064 h 488091"/>
              <a:gd name="connsiteX9" fmla="*/ 0 w 481913"/>
              <a:gd name="connsiteY9" fmla="*/ 0 h 48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1913" h="488091">
                <a:moveTo>
                  <a:pt x="0" y="0"/>
                </a:moveTo>
                <a:lnTo>
                  <a:pt x="74140" y="475735"/>
                </a:lnTo>
                <a:lnTo>
                  <a:pt x="191529" y="457200"/>
                </a:lnTo>
                <a:lnTo>
                  <a:pt x="333632" y="488091"/>
                </a:lnTo>
                <a:lnTo>
                  <a:pt x="420129" y="457200"/>
                </a:lnTo>
                <a:lnTo>
                  <a:pt x="481913" y="383059"/>
                </a:lnTo>
                <a:lnTo>
                  <a:pt x="364524" y="407772"/>
                </a:lnTo>
                <a:lnTo>
                  <a:pt x="228600" y="327454"/>
                </a:lnTo>
                <a:lnTo>
                  <a:pt x="135924" y="210064"/>
                </a:lnTo>
                <a:lnTo>
                  <a:pt x="0"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68" name="Freeform 58"/>
          <p:cNvSpPr/>
          <p:nvPr/>
        </p:nvSpPr>
        <p:spPr>
          <a:xfrm>
            <a:off x="4306888" y="1511300"/>
            <a:ext cx="674687" cy="1287463"/>
          </a:xfrm>
          <a:custGeom>
            <a:avLst/>
            <a:gdLst>
              <a:gd name="connsiteX0" fmla="*/ 173515 w 556351"/>
              <a:gd name="connsiteY0" fmla="*/ 44068 h 1065882"/>
              <a:gd name="connsiteX1" fmla="*/ 143219 w 556351"/>
              <a:gd name="connsiteY1" fmla="*/ 0 h 1065882"/>
              <a:gd name="connsiteX2" fmla="*/ 123939 w 556351"/>
              <a:gd name="connsiteY2" fmla="*/ 79873 h 1065882"/>
              <a:gd name="connsiteX3" fmla="*/ 82626 w 556351"/>
              <a:gd name="connsiteY3" fmla="*/ 110169 h 1065882"/>
              <a:gd name="connsiteX4" fmla="*/ 90889 w 556351"/>
              <a:gd name="connsiteY4" fmla="*/ 145974 h 1065882"/>
              <a:gd name="connsiteX5" fmla="*/ 71609 w 556351"/>
              <a:gd name="connsiteY5" fmla="*/ 179025 h 1065882"/>
              <a:gd name="connsiteX6" fmla="*/ 68855 w 556351"/>
              <a:gd name="connsiteY6" fmla="*/ 245126 h 1065882"/>
              <a:gd name="connsiteX7" fmla="*/ 68855 w 556351"/>
              <a:gd name="connsiteY7" fmla="*/ 297456 h 1065882"/>
              <a:gd name="connsiteX8" fmla="*/ 49575 w 556351"/>
              <a:gd name="connsiteY8" fmla="*/ 360803 h 1065882"/>
              <a:gd name="connsiteX9" fmla="*/ 112922 w 556351"/>
              <a:gd name="connsiteY9" fmla="*/ 429658 h 1065882"/>
              <a:gd name="connsiteX10" fmla="*/ 96397 w 556351"/>
              <a:gd name="connsiteY10" fmla="*/ 454446 h 1065882"/>
              <a:gd name="connsiteX11" fmla="*/ 145973 w 556351"/>
              <a:gd name="connsiteY11" fmla="*/ 523302 h 1065882"/>
              <a:gd name="connsiteX12" fmla="*/ 145973 w 556351"/>
              <a:gd name="connsiteY12" fmla="*/ 583894 h 1065882"/>
              <a:gd name="connsiteX13" fmla="*/ 90889 w 556351"/>
              <a:gd name="connsiteY13" fmla="*/ 622453 h 1065882"/>
              <a:gd name="connsiteX14" fmla="*/ 88134 w 556351"/>
              <a:gd name="connsiteY14" fmla="*/ 691309 h 1065882"/>
              <a:gd name="connsiteX15" fmla="*/ 60592 w 556351"/>
              <a:gd name="connsiteY15" fmla="*/ 729868 h 1065882"/>
              <a:gd name="connsiteX16" fmla="*/ 57838 w 556351"/>
              <a:gd name="connsiteY16" fmla="*/ 760164 h 1065882"/>
              <a:gd name="connsiteX17" fmla="*/ 24787 w 556351"/>
              <a:gd name="connsiteY17" fmla="*/ 762919 h 1065882"/>
              <a:gd name="connsiteX18" fmla="*/ 49575 w 556351"/>
              <a:gd name="connsiteY18" fmla="*/ 818003 h 1065882"/>
              <a:gd name="connsiteX19" fmla="*/ 57838 w 556351"/>
              <a:gd name="connsiteY19" fmla="*/ 840037 h 1065882"/>
              <a:gd name="connsiteX20" fmla="*/ 0 w 556351"/>
              <a:gd name="connsiteY20" fmla="*/ 878596 h 1065882"/>
              <a:gd name="connsiteX21" fmla="*/ 46821 w 556351"/>
              <a:gd name="connsiteY21" fmla="*/ 911646 h 1065882"/>
              <a:gd name="connsiteX22" fmla="*/ 24787 w 556351"/>
              <a:gd name="connsiteY22" fmla="*/ 969485 h 1065882"/>
              <a:gd name="connsiteX23" fmla="*/ 44067 w 556351"/>
              <a:gd name="connsiteY23" fmla="*/ 1065882 h 1065882"/>
              <a:gd name="connsiteX24" fmla="*/ 110168 w 556351"/>
              <a:gd name="connsiteY24" fmla="*/ 1057620 h 1065882"/>
              <a:gd name="connsiteX25" fmla="*/ 134956 w 556351"/>
              <a:gd name="connsiteY25" fmla="*/ 1065882 h 1065882"/>
              <a:gd name="connsiteX26" fmla="*/ 187286 w 556351"/>
              <a:gd name="connsiteY26" fmla="*/ 1013552 h 1065882"/>
              <a:gd name="connsiteX27" fmla="*/ 173515 w 556351"/>
              <a:gd name="connsiteY27" fmla="*/ 955714 h 1065882"/>
              <a:gd name="connsiteX28" fmla="*/ 228600 w 556351"/>
              <a:gd name="connsiteY28" fmla="*/ 908892 h 1065882"/>
              <a:gd name="connsiteX29" fmla="*/ 253387 w 556351"/>
              <a:gd name="connsiteY29" fmla="*/ 933680 h 1065882"/>
              <a:gd name="connsiteX30" fmla="*/ 305718 w 556351"/>
              <a:gd name="connsiteY30" fmla="*/ 875841 h 1065882"/>
              <a:gd name="connsiteX31" fmla="*/ 313980 w 556351"/>
              <a:gd name="connsiteY31" fmla="*/ 806986 h 1065882"/>
              <a:gd name="connsiteX32" fmla="*/ 421395 w 556351"/>
              <a:gd name="connsiteY32" fmla="*/ 760164 h 1065882"/>
              <a:gd name="connsiteX33" fmla="*/ 481987 w 556351"/>
              <a:gd name="connsiteY33" fmla="*/ 669275 h 1065882"/>
              <a:gd name="connsiteX34" fmla="*/ 556351 w 556351"/>
              <a:gd name="connsiteY34" fmla="*/ 638979 h 1065882"/>
              <a:gd name="connsiteX35" fmla="*/ 548089 w 556351"/>
              <a:gd name="connsiteY35" fmla="*/ 305719 h 1065882"/>
              <a:gd name="connsiteX36" fmla="*/ 509530 w 556351"/>
              <a:gd name="connsiteY36" fmla="*/ 308473 h 1065882"/>
              <a:gd name="connsiteX37" fmla="*/ 484742 w 556351"/>
              <a:gd name="connsiteY37" fmla="*/ 261651 h 1065882"/>
              <a:gd name="connsiteX38" fmla="*/ 432412 w 556351"/>
              <a:gd name="connsiteY38" fmla="*/ 267159 h 1065882"/>
              <a:gd name="connsiteX39" fmla="*/ 385590 w 556351"/>
              <a:gd name="connsiteY39" fmla="*/ 228600 h 1065882"/>
              <a:gd name="connsiteX40" fmla="*/ 319489 w 556351"/>
              <a:gd name="connsiteY40" fmla="*/ 264405 h 1065882"/>
              <a:gd name="connsiteX41" fmla="*/ 258896 w 556351"/>
              <a:gd name="connsiteY41" fmla="*/ 134957 h 1065882"/>
              <a:gd name="connsiteX42" fmla="*/ 173515 w 556351"/>
              <a:gd name="connsiteY42" fmla="*/ 44068 h 106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6351" h="1065882">
                <a:moveTo>
                  <a:pt x="173515" y="44068"/>
                </a:moveTo>
                <a:lnTo>
                  <a:pt x="143219" y="0"/>
                </a:lnTo>
                <a:lnTo>
                  <a:pt x="123939" y="79873"/>
                </a:lnTo>
                <a:lnTo>
                  <a:pt x="82626" y="110169"/>
                </a:lnTo>
                <a:lnTo>
                  <a:pt x="90889" y="145974"/>
                </a:lnTo>
                <a:lnTo>
                  <a:pt x="71609" y="179025"/>
                </a:lnTo>
                <a:lnTo>
                  <a:pt x="68855" y="245126"/>
                </a:lnTo>
                <a:lnTo>
                  <a:pt x="68855" y="297456"/>
                </a:lnTo>
                <a:lnTo>
                  <a:pt x="49575" y="360803"/>
                </a:lnTo>
                <a:lnTo>
                  <a:pt x="112922" y="429658"/>
                </a:lnTo>
                <a:lnTo>
                  <a:pt x="96397" y="454446"/>
                </a:lnTo>
                <a:lnTo>
                  <a:pt x="145973" y="523302"/>
                </a:lnTo>
                <a:lnTo>
                  <a:pt x="145973" y="583894"/>
                </a:lnTo>
                <a:lnTo>
                  <a:pt x="90889" y="622453"/>
                </a:lnTo>
                <a:lnTo>
                  <a:pt x="88134" y="691309"/>
                </a:lnTo>
                <a:lnTo>
                  <a:pt x="60592" y="729868"/>
                </a:lnTo>
                <a:lnTo>
                  <a:pt x="57838" y="760164"/>
                </a:lnTo>
                <a:lnTo>
                  <a:pt x="24787" y="762919"/>
                </a:lnTo>
                <a:lnTo>
                  <a:pt x="49575" y="818003"/>
                </a:lnTo>
                <a:lnTo>
                  <a:pt x="57838" y="840037"/>
                </a:lnTo>
                <a:lnTo>
                  <a:pt x="0" y="878596"/>
                </a:lnTo>
                <a:lnTo>
                  <a:pt x="46821" y="911646"/>
                </a:lnTo>
                <a:lnTo>
                  <a:pt x="24787" y="969485"/>
                </a:lnTo>
                <a:lnTo>
                  <a:pt x="44067" y="1065882"/>
                </a:lnTo>
                <a:lnTo>
                  <a:pt x="110168" y="1057620"/>
                </a:lnTo>
                <a:lnTo>
                  <a:pt x="134956" y="1065882"/>
                </a:lnTo>
                <a:lnTo>
                  <a:pt x="187286" y="1013552"/>
                </a:lnTo>
                <a:lnTo>
                  <a:pt x="173515" y="955714"/>
                </a:lnTo>
                <a:lnTo>
                  <a:pt x="228600" y="908892"/>
                </a:lnTo>
                <a:lnTo>
                  <a:pt x="253387" y="933680"/>
                </a:lnTo>
                <a:lnTo>
                  <a:pt x="305718" y="875841"/>
                </a:lnTo>
                <a:lnTo>
                  <a:pt x="313980" y="806986"/>
                </a:lnTo>
                <a:lnTo>
                  <a:pt x="421395" y="760164"/>
                </a:lnTo>
                <a:lnTo>
                  <a:pt x="481987" y="669275"/>
                </a:lnTo>
                <a:lnTo>
                  <a:pt x="556351" y="638979"/>
                </a:lnTo>
                <a:lnTo>
                  <a:pt x="548089" y="305719"/>
                </a:lnTo>
                <a:lnTo>
                  <a:pt x="509530" y="308473"/>
                </a:lnTo>
                <a:lnTo>
                  <a:pt x="484742" y="261651"/>
                </a:lnTo>
                <a:lnTo>
                  <a:pt x="432412" y="267159"/>
                </a:lnTo>
                <a:lnTo>
                  <a:pt x="385590" y="228600"/>
                </a:lnTo>
                <a:lnTo>
                  <a:pt x="319489" y="264405"/>
                </a:lnTo>
                <a:lnTo>
                  <a:pt x="258896" y="134957"/>
                </a:lnTo>
                <a:lnTo>
                  <a:pt x="173515" y="44068"/>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70" name="Freeform 61"/>
          <p:cNvSpPr/>
          <p:nvPr/>
        </p:nvSpPr>
        <p:spPr>
          <a:xfrm>
            <a:off x="4343400" y="1873250"/>
            <a:ext cx="1681163" cy="1120775"/>
          </a:xfrm>
          <a:custGeom>
            <a:avLst/>
            <a:gdLst>
              <a:gd name="connsiteX0" fmla="*/ 512284 w 1388125"/>
              <a:gd name="connsiteY0" fmla="*/ 0 h 925417"/>
              <a:gd name="connsiteX1" fmla="*/ 526055 w 1388125"/>
              <a:gd name="connsiteY1" fmla="*/ 344277 h 925417"/>
              <a:gd name="connsiteX2" fmla="*/ 443429 w 1388125"/>
              <a:gd name="connsiteY2" fmla="*/ 371819 h 925417"/>
              <a:gd name="connsiteX3" fmla="*/ 391099 w 1388125"/>
              <a:gd name="connsiteY3" fmla="*/ 468217 h 925417"/>
              <a:gd name="connsiteX4" fmla="*/ 283684 w 1388125"/>
              <a:gd name="connsiteY4" fmla="*/ 506776 h 925417"/>
              <a:gd name="connsiteX5" fmla="*/ 278176 w 1388125"/>
              <a:gd name="connsiteY5" fmla="*/ 578386 h 925417"/>
              <a:gd name="connsiteX6" fmla="*/ 220337 w 1388125"/>
              <a:gd name="connsiteY6" fmla="*/ 636224 h 925417"/>
              <a:gd name="connsiteX7" fmla="*/ 192795 w 1388125"/>
              <a:gd name="connsiteY7" fmla="*/ 616945 h 925417"/>
              <a:gd name="connsiteX8" fmla="*/ 134957 w 1388125"/>
              <a:gd name="connsiteY8" fmla="*/ 658258 h 925417"/>
              <a:gd name="connsiteX9" fmla="*/ 154236 w 1388125"/>
              <a:gd name="connsiteY9" fmla="*/ 710588 h 925417"/>
              <a:gd name="connsiteX10" fmla="*/ 90889 w 1388125"/>
              <a:gd name="connsiteY10" fmla="*/ 765672 h 925417"/>
              <a:gd name="connsiteX11" fmla="*/ 66101 w 1388125"/>
              <a:gd name="connsiteY11" fmla="*/ 760164 h 925417"/>
              <a:gd name="connsiteX12" fmla="*/ 8263 w 1388125"/>
              <a:gd name="connsiteY12" fmla="*/ 768427 h 925417"/>
              <a:gd name="connsiteX13" fmla="*/ 0 w 1388125"/>
              <a:gd name="connsiteY13" fmla="*/ 812494 h 925417"/>
              <a:gd name="connsiteX14" fmla="*/ 30296 w 1388125"/>
              <a:gd name="connsiteY14" fmla="*/ 834528 h 925417"/>
              <a:gd name="connsiteX15" fmla="*/ 19279 w 1388125"/>
              <a:gd name="connsiteY15" fmla="*/ 892366 h 925417"/>
              <a:gd name="connsiteX16" fmla="*/ 63347 w 1388125"/>
              <a:gd name="connsiteY16" fmla="*/ 925417 h 925417"/>
              <a:gd name="connsiteX17" fmla="*/ 1030077 w 1388125"/>
              <a:gd name="connsiteY17" fmla="*/ 864824 h 925417"/>
              <a:gd name="connsiteX18" fmla="*/ 1049357 w 1388125"/>
              <a:gd name="connsiteY18" fmla="*/ 815248 h 925417"/>
              <a:gd name="connsiteX19" fmla="*/ 1019060 w 1388125"/>
              <a:gd name="connsiteY19" fmla="*/ 710588 h 925417"/>
              <a:gd name="connsiteX20" fmla="*/ 1010798 w 1388125"/>
              <a:gd name="connsiteY20" fmla="*/ 658258 h 925417"/>
              <a:gd name="connsiteX21" fmla="*/ 1063128 w 1388125"/>
              <a:gd name="connsiteY21" fmla="*/ 616945 h 925417"/>
              <a:gd name="connsiteX22" fmla="*/ 1090670 w 1388125"/>
              <a:gd name="connsiteY22" fmla="*/ 647241 h 925417"/>
              <a:gd name="connsiteX23" fmla="*/ 1206347 w 1388125"/>
              <a:gd name="connsiteY23" fmla="*/ 688554 h 925417"/>
              <a:gd name="connsiteX24" fmla="*/ 1308253 w 1388125"/>
              <a:gd name="connsiteY24" fmla="*/ 699571 h 925417"/>
              <a:gd name="connsiteX25" fmla="*/ 1388125 w 1388125"/>
              <a:gd name="connsiteY25" fmla="*/ 680292 h 925417"/>
              <a:gd name="connsiteX26" fmla="*/ 1366091 w 1388125"/>
              <a:gd name="connsiteY26" fmla="*/ 638978 h 925417"/>
              <a:gd name="connsiteX27" fmla="*/ 1311007 w 1388125"/>
              <a:gd name="connsiteY27" fmla="*/ 616945 h 925417"/>
              <a:gd name="connsiteX28" fmla="*/ 1286219 w 1388125"/>
              <a:gd name="connsiteY28" fmla="*/ 614190 h 925417"/>
              <a:gd name="connsiteX29" fmla="*/ 1280711 w 1388125"/>
              <a:gd name="connsiteY29" fmla="*/ 319489 h 925417"/>
              <a:gd name="connsiteX30" fmla="*/ 1151263 w 1388125"/>
              <a:gd name="connsiteY30" fmla="*/ 278176 h 925417"/>
              <a:gd name="connsiteX31" fmla="*/ 1148508 w 1388125"/>
              <a:gd name="connsiteY31" fmla="*/ 245125 h 925417"/>
              <a:gd name="connsiteX32" fmla="*/ 1057619 w 1388125"/>
              <a:gd name="connsiteY32" fmla="*/ 253388 h 925417"/>
              <a:gd name="connsiteX33" fmla="*/ 1032831 w 1388125"/>
              <a:gd name="connsiteY33" fmla="*/ 228600 h 925417"/>
              <a:gd name="connsiteX34" fmla="*/ 917154 w 1388125"/>
              <a:gd name="connsiteY34" fmla="*/ 253388 h 925417"/>
              <a:gd name="connsiteX35" fmla="*/ 895120 w 1388125"/>
              <a:gd name="connsiteY35" fmla="*/ 220337 h 925417"/>
              <a:gd name="connsiteX36" fmla="*/ 881349 w 1388125"/>
              <a:gd name="connsiteY36" fmla="*/ 242371 h 925417"/>
              <a:gd name="connsiteX37" fmla="*/ 806985 w 1388125"/>
              <a:gd name="connsiteY37" fmla="*/ 239617 h 925417"/>
              <a:gd name="connsiteX38" fmla="*/ 776689 w 1388125"/>
              <a:gd name="connsiteY38" fmla="*/ 198304 h 925417"/>
              <a:gd name="connsiteX39" fmla="*/ 740884 w 1388125"/>
              <a:gd name="connsiteY39" fmla="*/ 181778 h 925417"/>
              <a:gd name="connsiteX40" fmla="*/ 658258 w 1388125"/>
              <a:gd name="connsiteY40" fmla="*/ 74364 h 925417"/>
              <a:gd name="connsiteX41" fmla="*/ 611436 w 1388125"/>
              <a:gd name="connsiteY41" fmla="*/ 107415 h 925417"/>
              <a:gd name="connsiteX42" fmla="*/ 578385 w 1388125"/>
              <a:gd name="connsiteY42" fmla="*/ 90889 h 925417"/>
              <a:gd name="connsiteX43" fmla="*/ 600419 w 1388125"/>
              <a:gd name="connsiteY43" fmla="*/ 38559 h 925417"/>
              <a:gd name="connsiteX44" fmla="*/ 567369 w 1388125"/>
              <a:gd name="connsiteY44" fmla="*/ 0 h 925417"/>
              <a:gd name="connsiteX45" fmla="*/ 512284 w 1388125"/>
              <a:gd name="connsiteY45" fmla="*/ 0 h 92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388125" h="925417">
                <a:moveTo>
                  <a:pt x="512284" y="0"/>
                </a:moveTo>
                <a:lnTo>
                  <a:pt x="526055" y="344277"/>
                </a:lnTo>
                <a:lnTo>
                  <a:pt x="443429" y="371819"/>
                </a:lnTo>
                <a:lnTo>
                  <a:pt x="391099" y="468217"/>
                </a:lnTo>
                <a:lnTo>
                  <a:pt x="283684" y="506776"/>
                </a:lnTo>
                <a:lnTo>
                  <a:pt x="278176" y="578386"/>
                </a:lnTo>
                <a:lnTo>
                  <a:pt x="220337" y="636224"/>
                </a:lnTo>
                <a:lnTo>
                  <a:pt x="192795" y="616945"/>
                </a:lnTo>
                <a:lnTo>
                  <a:pt x="134957" y="658258"/>
                </a:lnTo>
                <a:lnTo>
                  <a:pt x="154236" y="710588"/>
                </a:lnTo>
                <a:lnTo>
                  <a:pt x="90889" y="765672"/>
                </a:lnTo>
                <a:lnTo>
                  <a:pt x="66101" y="760164"/>
                </a:lnTo>
                <a:lnTo>
                  <a:pt x="8263" y="768427"/>
                </a:lnTo>
                <a:lnTo>
                  <a:pt x="0" y="812494"/>
                </a:lnTo>
                <a:lnTo>
                  <a:pt x="30296" y="834528"/>
                </a:lnTo>
                <a:lnTo>
                  <a:pt x="19279" y="892366"/>
                </a:lnTo>
                <a:lnTo>
                  <a:pt x="63347" y="925417"/>
                </a:lnTo>
                <a:lnTo>
                  <a:pt x="1030077" y="864824"/>
                </a:lnTo>
                <a:lnTo>
                  <a:pt x="1049357" y="815248"/>
                </a:lnTo>
                <a:lnTo>
                  <a:pt x="1019060" y="710588"/>
                </a:lnTo>
                <a:lnTo>
                  <a:pt x="1010798" y="658258"/>
                </a:lnTo>
                <a:lnTo>
                  <a:pt x="1063128" y="616945"/>
                </a:lnTo>
                <a:lnTo>
                  <a:pt x="1090670" y="647241"/>
                </a:lnTo>
                <a:lnTo>
                  <a:pt x="1206347" y="688554"/>
                </a:lnTo>
                <a:lnTo>
                  <a:pt x="1308253" y="699571"/>
                </a:lnTo>
                <a:lnTo>
                  <a:pt x="1388125" y="680292"/>
                </a:lnTo>
                <a:lnTo>
                  <a:pt x="1366091" y="638978"/>
                </a:lnTo>
                <a:lnTo>
                  <a:pt x="1311007" y="616945"/>
                </a:lnTo>
                <a:lnTo>
                  <a:pt x="1286219" y="614190"/>
                </a:lnTo>
                <a:lnTo>
                  <a:pt x="1280711" y="319489"/>
                </a:lnTo>
                <a:lnTo>
                  <a:pt x="1151263" y="278176"/>
                </a:lnTo>
                <a:lnTo>
                  <a:pt x="1148508" y="245125"/>
                </a:lnTo>
                <a:lnTo>
                  <a:pt x="1057619" y="253388"/>
                </a:lnTo>
                <a:lnTo>
                  <a:pt x="1032831" y="228600"/>
                </a:lnTo>
                <a:lnTo>
                  <a:pt x="917154" y="253388"/>
                </a:lnTo>
                <a:lnTo>
                  <a:pt x="895120" y="220337"/>
                </a:lnTo>
                <a:lnTo>
                  <a:pt x="881349" y="242371"/>
                </a:lnTo>
                <a:lnTo>
                  <a:pt x="806985" y="239617"/>
                </a:lnTo>
                <a:lnTo>
                  <a:pt x="776689" y="198304"/>
                </a:lnTo>
                <a:lnTo>
                  <a:pt x="740884" y="181778"/>
                </a:lnTo>
                <a:lnTo>
                  <a:pt x="658258" y="74364"/>
                </a:lnTo>
                <a:lnTo>
                  <a:pt x="611436" y="107415"/>
                </a:lnTo>
                <a:lnTo>
                  <a:pt x="578385" y="90889"/>
                </a:lnTo>
                <a:lnTo>
                  <a:pt x="600419" y="38559"/>
                </a:lnTo>
                <a:lnTo>
                  <a:pt x="567369" y="0"/>
                </a:lnTo>
                <a:lnTo>
                  <a:pt x="512284"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71" name="Freeform 62"/>
          <p:cNvSpPr/>
          <p:nvPr/>
        </p:nvSpPr>
        <p:spPr>
          <a:xfrm>
            <a:off x="4311650" y="2913063"/>
            <a:ext cx="1400175" cy="1052512"/>
          </a:xfrm>
          <a:custGeom>
            <a:avLst/>
            <a:gdLst>
              <a:gd name="connsiteX0" fmla="*/ 85380 w 1156771"/>
              <a:gd name="connsiteY0" fmla="*/ 68855 h 870332"/>
              <a:gd name="connsiteX1" fmla="*/ 11017 w 1156771"/>
              <a:gd name="connsiteY1" fmla="*/ 104660 h 870332"/>
              <a:gd name="connsiteX2" fmla="*/ 44067 w 1156771"/>
              <a:gd name="connsiteY2" fmla="*/ 190041 h 870332"/>
              <a:gd name="connsiteX3" fmla="*/ 0 w 1156771"/>
              <a:gd name="connsiteY3" fmla="*/ 234108 h 870332"/>
              <a:gd name="connsiteX4" fmla="*/ 63347 w 1156771"/>
              <a:gd name="connsiteY4" fmla="*/ 267159 h 870332"/>
              <a:gd name="connsiteX5" fmla="*/ 68855 w 1156771"/>
              <a:gd name="connsiteY5" fmla="*/ 294701 h 870332"/>
              <a:gd name="connsiteX6" fmla="*/ 101906 w 1156771"/>
              <a:gd name="connsiteY6" fmla="*/ 316735 h 870332"/>
              <a:gd name="connsiteX7" fmla="*/ 74364 w 1156771"/>
              <a:gd name="connsiteY7" fmla="*/ 347031 h 870332"/>
              <a:gd name="connsiteX8" fmla="*/ 126694 w 1156771"/>
              <a:gd name="connsiteY8" fmla="*/ 418641 h 870332"/>
              <a:gd name="connsiteX9" fmla="*/ 99152 w 1156771"/>
              <a:gd name="connsiteY9" fmla="*/ 451691 h 870332"/>
              <a:gd name="connsiteX10" fmla="*/ 99152 w 1156771"/>
              <a:gd name="connsiteY10" fmla="*/ 537072 h 870332"/>
              <a:gd name="connsiteX11" fmla="*/ 123940 w 1156771"/>
              <a:gd name="connsiteY11" fmla="*/ 553597 h 870332"/>
              <a:gd name="connsiteX12" fmla="*/ 187287 w 1156771"/>
              <a:gd name="connsiteY12" fmla="*/ 553597 h 870332"/>
              <a:gd name="connsiteX13" fmla="*/ 234108 w 1156771"/>
              <a:gd name="connsiteY13" fmla="*/ 570123 h 870332"/>
              <a:gd name="connsiteX14" fmla="*/ 198303 w 1156771"/>
              <a:gd name="connsiteY14" fmla="*/ 622453 h 870332"/>
              <a:gd name="connsiteX15" fmla="*/ 170761 w 1156771"/>
              <a:gd name="connsiteY15" fmla="*/ 611436 h 870332"/>
              <a:gd name="connsiteX16" fmla="*/ 148727 w 1156771"/>
              <a:gd name="connsiteY16" fmla="*/ 627961 h 870332"/>
              <a:gd name="connsiteX17" fmla="*/ 99152 w 1156771"/>
              <a:gd name="connsiteY17" fmla="*/ 614190 h 870332"/>
              <a:gd name="connsiteX18" fmla="*/ 66101 w 1156771"/>
              <a:gd name="connsiteY18" fmla="*/ 638978 h 870332"/>
              <a:gd name="connsiteX19" fmla="*/ 110168 w 1156771"/>
              <a:gd name="connsiteY19" fmla="*/ 666520 h 870332"/>
              <a:gd name="connsiteX20" fmla="*/ 176270 w 1156771"/>
              <a:gd name="connsiteY20" fmla="*/ 672029 h 870332"/>
              <a:gd name="connsiteX21" fmla="*/ 206566 w 1156771"/>
              <a:gd name="connsiteY21" fmla="*/ 735376 h 870332"/>
              <a:gd name="connsiteX22" fmla="*/ 176270 w 1156771"/>
              <a:gd name="connsiteY22" fmla="*/ 773935 h 870332"/>
              <a:gd name="connsiteX23" fmla="*/ 148727 w 1156771"/>
              <a:gd name="connsiteY23" fmla="*/ 776689 h 870332"/>
              <a:gd name="connsiteX24" fmla="*/ 137711 w 1156771"/>
              <a:gd name="connsiteY24" fmla="*/ 823511 h 870332"/>
              <a:gd name="connsiteX25" fmla="*/ 190041 w 1156771"/>
              <a:gd name="connsiteY25" fmla="*/ 870332 h 870332"/>
              <a:gd name="connsiteX26" fmla="*/ 732621 w 1156771"/>
              <a:gd name="connsiteY26" fmla="*/ 831773 h 870332"/>
              <a:gd name="connsiteX27" fmla="*/ 826265 w 1156771"/>
              <a:gd name="connsiteY27" fmla="*/ 663766 h 870332"/>
              <a:gd name="connsiteX28" fmla="*/ 867578 w 1156771"/>
              <a:gd name="connsiteY28" fmla="*/ 655503 h 870332"/>
              <a:gd name="connsiteX29" fmla="*/ 873087 w 1156771"/>
              <a:gd name="connsiteY29" fmla="*/ 614190 h 870332"/>
              <a:gd name="connsiteX30" fmla="*/ 922662 w 1156771"/>
              <a:gd name="connsiteY30" fmla="*/ 594911 h 870332"/>
              <a:gd name="connsiteX31" fmla="*/ 991518 w 1156771"/>
              <a:gd name="connsiteY31" fmla="*/ 630715 h 870332"/>
              <a:gd name="connsiteX32" fmla="*/ 1019060 w 1156771"/>
              <a:gd name="connsiteY32" fmla="*/ 594911 h 870332"/>
              <a:gd name="connsiteX33" fmla="*/ 983255 w 1156771"/>
              <a:gd name="connsiteY33" fmla="*/ 578385 h 870332"/>
              <a:gd name="connsiteX34" fmla="*/ 1002535 w 1156771"/>
              <a:gd name="connsiteY34" fmla="*/ 545335 h 870332"/>
              <a:gd name="connsiteX35" fmla="*/ 1076899 w 1156771"/>
              <a:gd name="connsiteY35" fmla="*/ 490250 h 870332"/>
              <a:gd name="connsiteX36" fmla="*/ 1038340 w 1156771"/>
              <a:gd name="connsiteY36" fmla="*/ 440674 h 870332"/>
              <a:gd name="connsiteX37" fmla="*/ 1060373 w 1156771"/>
              <a:gd name="connsiteY37" fmla="*/ 415887 h 870332"/>
              <a:gd name="connsiteX38" fmla="*/ 1035585 w 1156771"/>
              <a:gd name="connsiteY38" fmla="*/ 385590 h 870332"/>
              <a:gd name="connsiteX39" fmla="*/ 1019060 w 1156771"/>
              <a:gd name="connsiteY39" fmla="*/ 347031 h 870332"/>
              <a:gd name="connsiteX40" fmla="*/ 1076899 w 1156771"/>
              <a:gd name="connsiteY40" fmla="*/ 258896 h 870332"/>
              <a:gd name="connsiteX41" fmla="*/ 1156771 w 1156771"/>
              <a:gd name="connsiteY41" fmla="*/ 220337 h 870332"/>
              <a:gd name="connsiteX42" fmla="*/ 1068636 w 1156771"/>
              <a:gd name="connsiteY42" fmla="*/ 170761 h 870332"/>
              <a:gd name="connsiteX43" fmla="*/ 1087915 w 1156771"/>
              <a:gd name="connsiteY43" fmla="*/ 129448 h 870332"/>
              <a:gd name="connsiteX44" fmla="*/ 1140246 w 1156771"/>
              <a:gd name="connsiteY44" fmla="*/ 104660 h 870332"/>
              <a:gd name="connsiteX45" fmla="*/ 1137491 w 1156771"/>
              <a:gd name="connsiteY45" fmla="*/ 55084 h 870332"/>
              <a:gd name="connsiteX46" fmla="*/ 1107195 w 1156771"/>
              <a:gd name="connsiteY46" fmla="*/ 57838 h 870332"/>
              <a:gd name="connsiteX47" fmla="*/ 1049356 w 1156771"/>
              <a:gd name="connsiteY47" fmla="*/ 0 h 870332"/>
              <a:gd name="connsiteX48" fmla="*/ 85380 w 1156771"/>
              <a:gd name="connsiteY48" fmla="*/ 68855 h 87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56771" h="870332">
                <a:moveTo>
                  <a:pt x="85380" y="68855"/>
                </a:moveTo>
                <a:lnTo>
                  <a:pt x="11017" y="104660"/>
                </a:lnTo>
                <a:lnTo>
                  <a:pt x="44067" y="190041"/>
                </a:lnTo>
                <a:lnTo>
                  <a:pt x="0" y="234108"/>
                </a:lnTo>
                <a:lnTo>
                  <a:pt x="63347" y="267159"/>
                </a:lnTo>
                <a:lnTo>
                  <a:pt x="68855" y="294701"/>
                </a:lnTo>
                <a:lnTo>
                  <a:pt x="101906" y="316735"/>
                </a:lnTo>
                <a:lnTo>
                  <a:pt x="74364" y="347031"/>
                </a:lnTo>
                <a:lnTo>
                  <a:pt x="126694" y="418641"/>
                </a:lnTo>
                <a:lnTo>
                  <a:pt x="99152" y="451691"/>
                </a:lnTo>
                <a:lnTo>
                  <a:pt x="99152" y="537072"/>
                </a:lnTo>
                <a:lnTo>
                  <a:pt x="123940" y="553597"/>
                </a:lnTo>
                <a:lnTo>
                  <a:pt x="187287" y="553597"/>
                </a:lnTo>
                <a:lnTo>
                  <a:pt x="234108" y="570123"/>
                </a:lnTo>
                <a:lnTo>
                  <a:pt x="198303" y="622453"/>
                </a:lnTo>
                <a:lnTo>
                  <a:pt x="170761" y="611436"/>
                </a:lnTo>
                <a:lnTo>
                  <a:pt x="148727" y="627961"/>
                </a:lnTo>
                <a:lnTo>
                  <a:pt x="99152" y="614190"/>
                </a:lnTo>
                <a:lnTo>
                  <a:pt x="66101" y="638978"/>
                </a:lnTo>
                <a:lnTo>
                  <a:pt x="110168" y="666520"/>
                </a:lnTo>
                <a:lnTo>
                  <a:pt x="176270" y="672029"/>
                </a:lnTo>
                <a:lnTo>
                  <a:pt x="206566" y="735376"/>
                </a:lnTo>
                <a:lnTo>
                  <a:pt x="176270" y="773935"/>
                </a:lnTo>
                <a:lnTo>
                  <a:pt x="148727" y="776689"/>
                </a:lnTo>
                <a:lnTo>
                  <a:pt x="137711" y="823511"/>
                </a:lnTo>
                <a:lnTo>
                  <a:pt x="190041" y="870332"/>
                </a:lnTo>
                <a:lnTo>
                  <a:pt x="732621" y="831773"/>
                </a:lnTo>
                <a:lnTo>
                  <a:pt x="826265" y="663766"/>
                </a:lnTo>
                <a:lnTo>
                  <a:pt x="867578" y="655503"/>
                </a:lnTo>
                <a:lnTo>
                  <a:pt x="873087" y="614190"/>
                </a:lnTo>
                <a:lnTo>
                  <a:pt x="922662" y="594911"/>
                </a:lnTo>
                <a:lnTo>
                  <a:pt x="991518" y="630715"/>
                </a:lnTo>
                <a:lnTo>
                  <a:pt x="1019060" y="594911"/>
                </a:lnTo>
                <a:lnTo>
                  <a:pt x="983255" y="578385"/>
                </a:lnTo>
                <a:lnTo>
                  <a:pt x="1002535" y="545335"/>
                </a:lnTo>
                <a:lnTo>
                  <a:pt x="1076899" y="490250"/>
                </a:lnTo>
                <a:lnTo>
                  <a:pt x="1038340" y="440674"/>
                </a:lnTo>
                <a:lnTo>
                  <a:pt x="1060373" y="415887"/>
                </a:lnTo>
                <a:lnTo>
                  <a:pt x="1035585" y="385590"/>
                </a:lnTo>
                <a:lnTo>
                  <a:pt x="1019060" y="347031"/>
                </a:lnTo>
                <a:lnTo>
                  <a:pt x="1076899" y="258896"/>
                </a:lnTo>
                <a:lnTo>
                  <a:pt x="1156771" y="220337"/>
                </a:lnTo>
                <a:lnTo>
                  <a:pt x="1068636" y="170761"/>
                </a:lnTo>
                <a:lnTo>
                  <a:pt x="1087915" y="129448"/>
                </a:lnTo>
                <a:lnTo>
                  <a:pt x="1140246" y="104660"/>
                </a:lnTo>
                <a:lnTo>
                  <a:pt x="1137491" y="55084"/>
                </a:lnTo>
                <a:lnTo>
                  <a:pt x="1107195" y="57838"/>
                </a:lnTo>
                <a:lnTo>
                  <a:pt x="1049356" y="0"/>
                </a:lnTo>
                <a:lnTo>
                  <a:pt x="85380" y="68855"/>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72" name="Freeform 20481"/>
          <p:cNvSpPr/>
          <p:nvPr/>
        </p:nvSpPr>
        <p:spPr>
          <a:xfrm>
            <a:off x="4329113" y="3914775"/>
            <a:ext cx="1201737" cy="1524000"/>
          </a:xfrm>
          <a:custGeom>
            <a:avLst/>
            <a:gdLst>
              <a:gd name="connsiteX0" fmla="*/ 159744 w 994272"/>
              <a:gd name="connsiteY0" fmla="*/ 46822 h 1258677"/>
              <a:gd name="connsiteX1" fmla="*/ 137711 w 994272"/>
              <a:gd name="connsiteY1" fmla="*/ 79872 h 1258677"/>
              <a:gd name="connsiteX2" fmla="*/ 173516 w 994272"/>
              <a:gd name="connsiteY2" fmla="*/ 162499 h 1258677"/>
              <a:gd name="connsiteX3" fmla="*/ 129448 w 994272"/>
              <a:gd name="connsiteY3" fmla="*/ 212075 h 1258677"/>
              <a:gd name="connsiteX4" fmla="*/ 154236 w 994272"/>
              <a:gd name="connsiteY4" fmla="*/ 264405 h 1258677"/>
              <a:gd name="connsiteX5" fmla="*/ 74364 w 994272"/>
              <a:gd name="connsiteY5" fmla="*/ 404870 h 1258677"/>
              <a:gd name="connsiteX6" fmla="*/ 107414 w 994272"/>
              <a:gd name="connsiteY6" fmla="*/ 448937 h 1258677"/>
              <a:gd name="connsiteX7" fmla="*/ 104660 w 994272"/>
              <a:gd name="connsiteY7" fmla="*/ 479234 h 1258677"/>
              <a:gd name="connsiteX8" fmla="*/ 134956 w 994272"/>
              <a:gd name="connsiteY8" fmla="*/ 515039 h 1258677"/>
              <a:gd name="connsiteX9" fmla="*/ 99152 w 994272"/>
              <a:gd name="connsiteY9" fmla="*/ 559106 h 1258677"/>
              <a:gd name="connsiteX10" fmla="*/ 104660 w 994272"/>
              <a:gd name="connsiteY10" fmla="*/ 614190 h 1258677"/>
              <a:gd name="connsiteX11" fmla="*/ 68855 w 994272"/>
              <a:gd name="connsiteY11" fmla="*/ 638978 h 1258677"/>
              <a:gd name="connsiteX12" fmla="*/ 38559 w 994272"/>
              <a:gd name="connsiteY12" fmla="*/ 685800 h 1258677"/>
              <a:gd name="connsiteX13" fmla="*/ 0 w 994272"/>
              <a:gd name="connsiteY13" fmla="*/ 677537 h 1258677"/>
              <a:gd name="connsiteX14" fmla="*/ 0 w 994272"/>
              <a:gd name="connsiteY14" fmla="*/ 765672 h 1258677"/>
              <a:gd name="connsiteX15" fmla="*/ 5508 w 994272"/>
              <a:gd name="connsiteY15" fmla="*/ 831774 h 1258677"/>
              <a:gd name="connsiteX16" fmla="*/ 16525 w 994272"/>
              <a:gd name="connsiteY16" fmla="*/ 903383 h 1258677"/>
              <a:gd name="connsiteX17" fmla="*/ 2754 w 994272"/>
              <a:gd name="connsiteY17" fmla="*/ 941942 h 1258677"/>
              <a:gd name="connsiteX18" fmla="*/ 90889 w 994272"/>
              <a:gd name="connsiteY18" fmla="*/ 1054865 h 1258677"/>
              <a:gd name="connsiteX19" fmla="*/ 162499 w 994272"/>
              <a:gd name="connsiteY19" fmla="*/ 972239 h 1258677"/>
              <a:gd name="connsiteX20" fmla="*/ 201058 w 994272"/>
              <a:gd name="connsiteY20" fmla="*/ 997027 h 1258677"/>
              <a:gd name="connsiteX21" fmla="*/ 198303 w 994272"/>
              <a:gd name="connsiteY21" fmla="*/ 1071390 h 1258677"/>
              <a:gd name="connsiteX22" fmla="*/ 209320 w 994272"/>
              <a:gd name="connsiteY22" fmla="*/ 1148508 h 1258677"/>
              <a:gd name="connsiteX23" fmla="*/ 223091 w 994272"/>
              <a:gd name="connsiteY23" fmla="*/ 1167788 h 1258677"/>
              <a:gd name="connsiteX24" fmla="*/ 253388 w 994272"/>
              <a:gd name="connsiteY24" fmla="*/ 1176051 h 1258677"/>
              <a:gd name="connsiteX25" fmla="*/ 275422 w 994272"/>
              <a:gd name="connsiteY25" fmla="*/ 1184313 h 1258677"/>
              <a:gd name="connsiteX26" fmla="*/ 302964 w 994272"/>
              <a:gd name="connsiteY26" fmla="*/ 1247660 h 1258677"/>
              <a:gd name="connsiteX27" fmla="*/ 421395 w 994272"/>
              <a:gd name="connsiteY27" fmla="*/ 1220118 h 1258677"/>
              <a:gd name="connsiteX28" fmla="*/ 509530 w 994272"/>
              <a:gd name="connsiteY28" fmla="*/ 1198084 h 1258677"/>
              <a:gd name="connsiteX29" fmla="*/ 655503 w 994272"/>
              <a:gd name="connsiteY29" fmla="*/ 1250414 h 1258677"/>
              <a:gd name="connsiteX30" fmla="*/ 705079 w 994272"/>
              <a:gd name="connsiteY30" fmla="*/ 1258677 h 1258677"/>
              <a:gd name="connsiteX31" fmla="*/ 616944 w 994272"/>
              <a:gd name="connsiteY31" fmla="*/ 1109949 h 1258677"/>
              <a:gd name="connsiteX32" fmla="*/ 567369 w 994272"/>
              <a:gd name="connsiteY32" fmla="*/ 986010 h 1258677"/>
              <a:gd name="connsiteX33" fmla="*/ 597665 w 994272"/>
              <a:gd name="connsiteY33" fmla="*/ 952959 h 1258677"/>
              <a:gd name="connsiteX34" fmla="*/ 567369 w 994272"/>
              <a:gd name="connsiteY34" fmla="*/ 908892 h 1258677"/>
              <a:gd name="connsiteX35" fmla="*/ 625207 w 994272"/>
              <a:gd name="connsiteY35" fmla="*/ 842790 h 1258677"/>
              <a:gd name="connsiteX36" fmla="*/ 729867 w 994272"/>
              <a:gd name="connsiteY36" fmla="*/ 793214 h 1258677"/>
              <a:gd name="connsiteX37" fmla="*/ 762918 w 994272"/>
              <a:gd name="connsiteY37" fmla="*/ 581140 h 1258677"/>
              <a:gd name="connsiteX38" fmla="*/ 878595 w 994272"/>
              <a:gd name="connsiteY38" fmla="*/ 481988 h 1258677"/>
              <a:gd name="connsiteX39" fmla="*/ 991518 w 994272"/>
              <a:gd name="connsiteY39" fmla="*/ 352540 h 1258677"/>
              <a:gd name="connsiteX40" fmla="*/ 974993 w 994272"/>
              <a:gd name="connsiteY40" fmla="*/ 344277 h 1258677"/>
              <a:gd name="connsiteX41" fmla="*/ 994272 w 994272"/>
              <a:gd name="connsiteY41" fmla="*/ 217583 h 1258677"/>
              <a:gd name="connsiteX42" fmla="*/ 952959 w 994272"/>
              <a:gd name="connsiteY42" fmla="*/ 192795 h 1258677"/>
              <a:gd name="connsiteX43" fmla="*/ 917154 w 994272"/>
              <a:gd name="connsiteY43" fmla="*/ 192795 h 1258677"/>
              <a:gd name="connsiteX44" fmla="*/ 889612 w 994272"/>
              <a:gd name="connsiteY44" fmla="*/ 184533 h 1258677"/>
              <a:gd name="connsiteX45" fmla="*/ 873087 w 994272"/>
              <a:gd name="connsiteY45" fmla="*/ 209321 h 1258677"/>
              <a:gd name="connsiteX46" fmla="*/ 749147 w 994272"/>
              <a:gd name="connsiteY46" fmla="*/ 96398 h 1258677"/>
              <a:gd name="connsiteX47" fmla="*/ 713342 w 994272"/>
              <a:gd name="connsiteY47" fmla="*/ 0 h 1258677"/>
              <a:gd name="connsiteX48" fmla="*/ 159744 w 994272"/>
              <a:gd name="connsiteY48" fmla="*/ 46822 h 125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994272" h="1258677">
                <a:moveTo>
                  <a:pt x="159744" y="46822"/>
                </a:moveTo>
                <a:lnTo>
                  <a:pt x="137711" y="79872"/>
                </a:lnTo>
                <a:lnTo>
                  <a:pt x="173516" y="162499"/>
                </a:lnTo>
                <a:lnTo>
                  <a:pt x="129448" y="212075"/>
                </a:lnTo>
                <a:lnTo>
                  <a:pt x="154236" y="264405"/>
                </a:lnTo>
                <a:lnTo>
                  <a:pt x="74364" y="404870"/>
                </a:lnTo>
                <a:lnTo>
                  <a:pt x="107414" y="448937"/>
                </a:lnTo>
                <a:lnTo>
                  <a:pt x="104660" y="479234"/>
                </a:lnTo>
                <a:lnTo>
                  <a:pt x="134956" y="515039"/>
                </a:lnTo>
                <a:lnTo>
                  <a:pt x="99152" y="559106"/>
                </a:lnTo>
                <a:lnTo>
                  <a:pt x="104660" y="614190"/>
                </a:lnTo>
                <a:lnTo>
                  <a:pt x="68855" y="638978"/>
                </a:lnTo>
                <a:lnTo>
                  <a:pt x="38559" y="685800"/>
                </a:lnTo>
                <a:lnTo>
                  <a:pt x="0" y="677537"/>
                </a:lnTo>
                <a:lnTo>
                  <a:pt x="0" y="765672"/>
                </a:lnTo>
                <a:lnTo>
                  <a:pt x="5508" y="831774"/>
                </a:lnTo>
                <a:lnTo>
                  <a:pt x="16525" y="903383"/>
                </a:lnTo>
                <a:lnTo>
                  <a:pt x="2754" y="941942"/>
                </a:lnTo>
                <a:lnTo>
                  <a:pt x="90889" y="1054865"/>
                </a:lnTo>
                <a:lnTo>
                  <a:pt x="162499" y="972239"/>
                </a:lnTo>
                <a:lnTo>
                  <a:pt x="201058" y="997027"/>
                </a:lnTo>
                <a:cubicBezTo>
                  <a:pt x="200140" y="1021815"/>
                  <a:pt x="199221" y="1046602"/>
                  <a:pt x="198303" y="1071390"/>
                </a:cubicBezTo>
                <a:lnTo>
                  <a:pt x="209320" y="1148508"/>
                </a:lnTo>
                <a:lnTo>
                  <a:pt x="223091" y="1167788"/>
                </a:lnTo>
                <a:cubicBezTo>
                  <a:pt x="233190" y="1170542"/>
                  <a:pt x="243345" y="1173097"/>
                  <a:pt x="253388" y="1176051"/>
                </a:cubicBezTo>
                <a:cubicBezTo>
                  <a:pt x="268342" y="1180449"/>
                  <a:pt x="265964" y="1179585"/>
                  <a:pt x="275422" y="1184313"/>
                </a:cubicBezTo>
                <a:lnTo>
                  <a:pt x="302964" y="1247660"/>
                </a:lnTo>
                <a:lnTo>
                  <a:pt x="421395" y="1220118"/>
                </a:lnTo>
                <a:lnTo>
                  <a:pt x="509530" y="1198084"/>
                </a:lnTo>
                <a:lnTo>
                  <a:pt x="655503" y="1250414"/>
                </a:lnTo>
                <a:lnTo>
                  <a:pt x="705079" y="1258677"/>
                </a:lnTo>
                <a:lnTo>
                  <a:pt x="616944" y="1109949"/>
                </a:lnTo>
                <a:lnTo>
                  <a:pt x="567369" y="986010"/>
                </a:lnTo>
                <a:lnTo>
                  <a:pt x="597665" y="952959"/>
                </a:lnTo>
                <a:lnTo>
                  <a:pt x="567369" y="908892"/>
                </a:lnTo>
                <a:lnTo>
                  <a:pt x="625207" y="842790"/>
                </a:lnTo>
                <a:lnTo>
                  <a:pt x="729867" y="793214"/>
                </a:lnTo>
                <a:lnTo>
                  <a:pt x="762918" y="581140"/>
                </a:lnTo>
                <a:lnTo>
                  <a:pt x="878595" y="481988"/>
                </a:lnTo>
                <a:lnTo>
                  <a:pt x="991518" y="352540"/>
                </a:lnTo>
                <a:lnTo>
                  <a:pt x="974993" y="344277"/>
                </a:lnTo>
                <a:lnTo>
                  <a:pt x="994272" y="217583"/>
                </a:lnTo>
                <a:lnTo>
                  <a:pt x="952959" y="192795"/>
                </a:lnTo>
                <a:lnTo>
                  <a:pt x="917154" y="192795"/>
                </a:lnTo>
                <a:lnTo>
                  <a:pt x="889612" y="184533"/>
                </a:lnTo>
                <a:lnTo>
                  <a:pt x="873087" y="209321"/>
                </a:lnTo>
                <a:lnTo>
                  <a:pt x="749147" y="96398"/>
                </a:lnTo>
                <a:lnTo>
                  <a:pt x="713342" y="0"/>
                </a:lnTo>
                <a:lnTo>
                  <a:pt x="159744" y="46822"/>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grpSp>
        <p:nvGrpSpPr>
          <p:cNvPr id="32778" name="4 Grupo"/>
          <p:cNvGrpSpPr>
            <a:grpSpLocks/>
          </p:cNvGrpSpPr>
          <p:nvPr/>
        </p:nvGrpSpPr>
        <p:grpSpPr bwMode="auto">
          <a:xfrm>
            <a:off x="6364288" y="5127625"/>
            <a:ext cx="808037" cy="536575"/>
            <a:chOff x="6363828" y="5128372"/>
            <a:chExt cx="808688" cy="535924"/>
          </a:xfrm>
        </p:grpSpPr>
        <p:sp>
          <p:nvSpPr>
            <p:cNvPr id="81" name="Rectangle 22"/>
            <p:cNvSpPr/>
            <p:nvPr/>
          </p:nvSpPr>
          <p:spPr>
            <a:xfrm>
              <a:off x="6363828" y="5128372"/>
              <a:ext cx="808688" cy="5359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2" name="Freeform 23"/>
            <p:cNvSpPr/>
            <p:nvPr/>
          </p:nvSpPr>
          <p:spPr>
            <a:xfrm>
              <a:off x="6529061" y="5321812"/>
              <a:ext cx="260560" cy="236251"/>
            </a:xfrm>
            <a:custGeom>
              <a:avLst/>
              <a:gdLst>
                <a:gd name="connsiteX0" fmla="*/ 66675 w 233363"/>
                <a:gd name="connsiteY0" fmla="*/ 40481 h 209550"/>
                <a:gd name="connsiteX1" fmla="*/ 111919 w 233363"/>
                <a:gd name="connsiteY1" fmla="*/ 111919 h 209550"/>
                <a:gd name="connsiteX2" fmla="*/ 83344 w 233363"/>
                <a:gd name="connsiteY2" fmla="*/ 128587 h 209550"/>
                <a:gd name="connsiteX3" fmla="*/ 69057 w 233363"/>
                <a:gd name="connsiteY3" fmla="*/ 157162 h 209550"/>
                <a:gd name="connsiteX4" fmla="*/ 11907 w 233363"/>
                <a:gd name="connsiteY4" fmla="*/ 154781 h 209550"/>
                <a:gd name="connsiteX5" fmla="*/ 0 w 233363"/>
                <a:gd name="connsiteY5" fmla="*/ 185737 h 209550"/>
                <a:gd name="connsiteX6" fmla="*/ 35719 w 233363"/>
                <a:gd name="connsiteY6" fmla="*/ 200025 h 209550"/>
                <a:gd name="connsiteX7" fmla="*/ 76200 w 233363"/>
                <a:gd name="connsiteY7" fmla="*/ 209550 h 209550"/>
                <a:gd name="connsiteX8" fmla="*/ 109538 w 233363"/>
                <a:gd name="connsiteY8" fmla="*/ 147637 h 209550"/>
                <a:gd name="connsiteX9" fmla="*/ 140494 w 233363"/>
                <a:gd name="connsiteY9" fmla="*/ 142875 h 209550"/>
                <a:gd name="connsiteX10" fmla="*/ 195263 w 233363"/>
                <a:gd name="connsiteY10" fmla="*/ 69056 h 209550"/>
                <a:gd name="connsiteX11" fmla="*/ 233363 w 233363"/>
                <a:gd name="connsiteY11" fmla="*/ 14287 h 209550"/>
                <a:gd name="connsiteX12" fmla="*/ 161925 w 233363"/>
                <a:gd name="connsiteY12" fmla="*/ 30956 h 209550"/>
                <a:gd name="connsiteX13" fmla="*/ 116682 w 233363"/>
                <a:gd name="connsiteY13" fmla="*/ 0 h 209550"/>
                <a:gd name="connsiteX14" fmla="*/ 116682 w 233363"/>
                <a:gd name="connsiteY14" fmla="*/ 50006 h 209550"/>
                <a:gd name="connsiteX15" fmla="*/ 66675 w 233363"/>
                <a:gd name="connsiteY15" fmla="*/ 4048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363" h="209550">
                  <a:moveTo>
                    <a:pt x="66675" y="40481"/>
                  </a:moveTo>
                  <a:lnTo>
                    <a:pt x="111919" y="111919"/>
                  </a:lnTo>
                  <a:lnTo>
                    <a:pt x="83344" y="128587"/>
                  </a:lnTo>
                  <a:lnTo>
                    <a:pt x="69057" y="157162"/>
                  </a:lnTo>
                  <a:lnTo>
                    <a:pt x="11907" y="154781"/>
                  </a:lnTo>
                  <a:lnTo>
                    <a:pt x="0" y="185737"/>
                  </a:lnTo>
                  <a:lnTo>
                    <a:pt x="35719" y="200025"/>
                  </a:lnTo>
                  <a:lnTo>
                    <a:pt x="76200" y="209550"/>
                  </a:lnTo>
                  <a:lnTo>
                    <a:pt x="109538" y="147637"/>
                  </a:lnTo>
                  <a:lnTo>
                    <a:pt x="140494" y="142875"/>
                  </a:lnTo>
                  <a:lnTo>
                    <a:pt x="195263" y="69056"/>
                  </a:lnTo>
                  <a:lnTo>
                    <a:pt x="233363" y="14287"/>
                  </a:lnTo>
                  <a:lnTo>
                    <a:pt x="161925" y="30956"/>
                  </a:lnTo>
                  <a:lnTo>
                    <a:pt x="116682" y="0"/>
                  </a:lnTo>
                  <a:lnTo>
                    <a:pt x="116682" y="50006"/>
                  </a:lnTo>
                  <a:lnTo>
                    <a:pt x="66675" y="40481"/>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83" name="Freeform 24"/>
            <p:cNvSpPr/>
            <p:nvPr/>
          </p:nvSpPr>
          <p:spPr>
            <a:xfrm>
              <a:off x="6721303" y="5321812"/>
              <a:ext cx="289158" cy="304430"/>
            </a:xfrm>
            <a:custGeom>
              <a:avLst/>
              <a:gdLst>
                <a:gd name="connsiteX0" fmla="*/ 121444 w 259557"/>
                <a:gd name="connsiteY0" fmla="*/ 0 h 269081"/>
                <a:gd name="connsiteX1" fmla="*/ 109538 w 259557"/>
                <a:gd name="connsiteY1" fmla="*/ 85725 h 269081"/>
                <a:gd name="connsiteX2" fmla="*/ 47625 w 259557"/>
                <a:gd name="connsiteY2" fmla="*/ 126206 h 269081"/>
                <a:gd name="connsiteX3" fmla="*/ 0 w 259557"/>
                <a:gd name="connsiteY3" fmla="*/ 197644 h 269081"/>
                <a:gd name="connsiteX4" fmla="*/ 90488 w 259557"/>
                <a:gd name="connsiteY4" fmla="*/ 269081 h 269081"/>
                <a:gd name="connsiteX5" fmla="*/ 45244 w 259557"/>
                <a:gd name="connsiteY5" fmla="*/ 195262 h 269081"/>
                <a:gd name="connsiteX6" fmla="*/ 138113 w 259557"/>
                <a:gd name="connsiteY6" fmla="*/ 223837 h 269081"/>
                <a:gd name="connsiteX7" fmla="*/ 57150 w 259557"/>
                <a:gd name="connsiteY7" fmla="*/ 161925 h 269081"/>
                <a:gd name="connsiteX8" fmla="*/ 169069 w 259557"/>
                <a:gd name="connsiteY8" fmla="*/ 190500 h 269081"/>
                <a:gd name="connsiteX9" fmla="*/ 107157 w 259557"/>
                <a:gd name="connsiteY9" fmla="*/ 119062 h 269081"/>
                <a:gd name="connsiteX10" fmla="*/ 197644 w 259557"/>
                <a:gd name="connsiteY10" fmla="*/ 147637 h 269081"/>
                <a:gd name="connsiteX11" fmla="*/ 257175 w 259557"/>
                <a:gd name="connsiteY11" fmla="*/ 116681 h 269081"/>
                <a:gd name="connsiteX12" fmla="*/ 259557 w 259557"/>
                <a:gd name="connsiteY12" fmla="*/ 38100 h 269081"/>
                <a:gd name="connsiteX13" fmla="*/ 219075 w 259557"/>
                <a:gd name="connsiteY13" fmla="*/ 23812 h 269081"/>
                <a:gd name="connsiteX14" fmla="*/ 209550 w 259557"/>
                <a:gd name="connsiteY14" fmla="*/ 78581 h 269081"/>
                <a:gd name="connsiteX15" fmla="*/ 176213 w 259557"/>
                <a:gd name="connsiteY15" fmla="*/ 45244 h 269081"/>
                <a:gd name="connsiteX16" fmla="*/ 180975 w 259557"/>
                <a:gd name="connsiteY16" fmla="*/ 0 h 269081"/>
                <a:gd name="connsiteX17" fmla="*/ 121444 w 259557"/>
                <a:gd name="connsiteY17" fmla="*/ 0 h 269081"/>
                <a:gd name="connsiteX0" fmla="*/ 121444 w 259557"/>
                <a:gd name="connsiteY0" fmla="*/ 2381 h 271462"/>
                <a:gd name="connsiteX1" fmla="*/ 109538 w 259557"/>
                <a:gd name="connsiteY1" fmla="*/ 88106 h 271462"/>
                <a:gd name="connsiteX2" fmla="*/ 47625 w 259557"/>
                <a:gd name="connsiteY2" fmla="*/ 128587 h 271462"/>
                <a:gd name="connsiteX3" fmla="*/ 0 w 259557"/>
                <a:gd name="connsiteY3" fmla="*/ 200025 h 271462"/>
                <a:gd name="connsiteX4" fmla="*/ 90488 w 259557"/>
                <a:gd name="connsiteY4" fmla="*/ 271462 h 271462"/>
                <a:gd name="connsiteX5" fmla="*/ 45244 w 259557"/>
                <a:gd name="connsiteY5" fmla="*/ 197643 h 271462"/>
                <a:gd name="connsiteX6" fmla="*/ 138113 w 259557"/>
                <a:gd name="connsiteY6" fmla="*/ 226218 h 271462"/>
                <a:gd name="connsiteX7" fmla="*/ 57150 w 259557"/>
                <a:gd name="connsiteY7" fmla="*/ 164306 h 271462"/>
                <a:gd name="connsiteX8" fmla="*/ 169069 w 259557"/>
                <a:gd name="connsiteY8" fmla="*/ 192881 h 271462"/>
                <a:gd name="connsiteX9" fmla="*/ 107157 w 259557"/>
                <a:gd name="connsiteY9" fmla="*/ 121443 h 271462"/>
                <a:gd name="connsiteX10" fmla="*/ 197644 w 259557"/>
                <a:gd name="connsiteY10" fmla="*/ 150018 h 271462"/>
                <a:gd name="connsiteX11" fmla="*/ 257175 w 259557"/>
                <a:gd name="connsiteY11" fmla="*/ 119062 h 271462"/>
                <a:gd name="connsiteX12" fmla="*/ 259557 w 259557"/>
                <a:gd name="connsiteY12" fmla="*/ 40481 h 271462"/>
                <a:gd name="connsiteX13" fmla="*/ 219075 w 259557"/>
                <a:gd name="connsiteY13" fmla="*/ 26193 h 271462"/>
                <a:gd name="connsiteX14" fmla="*/ 209550 w 259557"/>
                <a:gd name="connsiteY14" fmla="*/ 80962 h 271462"/>
                <a:gd name="connsiteX15" fmla="*/ 176213 w 259557"/>
                <a:gd name="connsiteY15" fmla="*/ 47625 h 271462"/>
                <a:gd name="connsiteX16" fmla="*/ 180975 w 259557"/>
                <a:gd name="connsiteY16" fmla="*/ 2381 h 271462"/>
                <a:gd name="connsiteX17" fmla="*/ 150019 w 259557"/>
                <a:gd name="connsiteY17" fmla="*/ 0 h 271462"/>
                <a:gd name="connsiteX18" fmla="*/ 121444 w 259557"/>
                <a:gd name="connsiteY18" fmla="*/ 2381 h 271462"/>
                <a:gd name="connsiteX0" fmla="*/ 121444 w 259557"/>
                <a:gd name="connsiteY0" fmla="*/ 0 h 269081"/>
                <a:gd name="connsiteX1" fmla="*/ 109538 w 259557"/>
                <a:gd name="connsiteY1" fmla="*/ 85725 h 269081"/>
                <a:gd name="connsiteX2" fmla="*/ 47625 w 259557"/>
                <a:gd name="connsiteY2" fmla="*/ 126206 h 269081"/>
                <a:gd name="connsiteX3" fmla="*/ 0 w 259557"/>
                <a:gd name="connsiteY3" fmla="*/ 197644 h 269081"/>
                <a:gd name="connsiteX4" fmla="*/ 90488 w 259557"/>
                <a:gd name="connsiteY4" fmla="*/ 269081 h 269081"/>
                <a:gd name="connsiteX5" fmla="*/ 45244 w 259557"/>
                <a:gd name="connsiteY5" fmla="*/ 195262 h 269081"/>
                <a:gd name="connsiteX6" fmla="*/ 138113 w 259557"/>
                <a:gd name="connsiteY6" fmla="*/ 223837 h 269081"/>
                <a:gd name="connsiteX7" fmla="*/ 57150 w 259557"/>
                <a:gd name="connsiteY7" fmla="*/ 161925 h 269081"/>
                <a:gd name="connsiteX8" fmla="*/ 169069 w 259557"/>
                <a:gd name="connsiteY8" fmla="*/ 190500 h 269081"/>
                <a:gd name="connsiteX9" fmla="*/ 107157 w 259557"/>
                <a:gd name="connsiteY9" fmla="*/ 119062 h 269081"/>
                <a:gd name="connsiteX10" fmla="*/ 197644 w 259557"/>
                <a:gd name="connsiteY10" fmla="*/ 147637 h 269081"/>
                <a:gd name="connsiteX11" fmla="*/ 257175 w 259557"/>
                <a:gd name="connsiteY11" fmla="*/ 116681 h 269081"/>
                <a:gd name="connsiteX12" fmla="*/ 259557 w 259557"/>
                <a:gd name="connsiteY12" fmla="*/ 38100 h 269081"/>
                <a:gd name="connsiteX13" fmla="*/ 219075 w 259557"/>
                <a:gd name="connsiteY13" fmla="*/ 23812 h 269081"/>
                <a:gd name="connsiteX14" fmla="*/ 209550 w 259557"/>
                <a:gd name="connsiteY14" fmla="*/ 78581 h 269081"/>
                <a:gd name="connsiteX15" fmla="*/ 176213 w 259557"/>
                <a:gd name="connsiteY15" fmla="*/ 45244 h 269081"/>
                <a:gd name="connsiteX16" fmla="*/ 180975 w 259557"/>
                <a:gd name="connsiteY16" fmla="*/ 0 h 269081"/>
                <a:gd name="connsiteX17" fmla="*/ 150019 w 259557"/>
                <a:gd name="connsiteY17" fmla="*/ 30957 h 269081"/>
                <a:gd name="connsiteX18" fmla="*/ 121444 w 259557"/>
                <a:gd name="connsiteY18" fmla="*/ 0 h 26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9557" h="269081">
                  <a:moveTo>
                    <a:pt x="121444" y="0"/>
                  </a:moveTo>
                  <a:lnTo>
                    <a:pt x="109538" y="85725"/>
                  </a:lnTo>
                  <a:lnTo>
                    <a:pt x="47625" y="126206"/>
                  </a:lnTo>
                  <a:lnTo>
                    <a:pt x="0" y="197644"/>
                  </a:lnTo>
                  <a:lnTo>
                    <a:pt x="90488" y="269081"/>
                  </a:lnTo>
                  <a:lnTo>
                    <a:pt x="45244" y="195262"/>
                  </a:lnTo>
                  <a:lnTo>
                    <a:pt x="138113" y="223837"/>
                  </a:lnTo>
                  <a:lnTo>
                    <a:pt x="57150" y="161925"/>
                  </a:lnTo>
                  <a:lnTo>
                    <a:pt x="169069" y="190500"/>
                  </a:lnTo>
                  <a:lnTo>
                    <a:pt x="107157" y="119062"/>
                  </a:lnTo>
                  <a:lnTo>
                    <a:pt x="197644" y="147637"/>
                  </a:lnTo>
                  <a:lnTo>
                    <a:pt x="257175" y="116681"/>
                  </a:lnTo>
                  <a:lnTo>
                    <a:pt x="259557" y="38100"/>
                  </a:lnTo>
                  <a:lnTo>
                    <a:pt x="219075" y="23812"/>
                  </a:lnTo>
                  <a:lnTo>
                    <a:pt x="209550" y="78581"/>
                  </a:lnTo>
                  <a:lnTo>
                    <a:pt x="176213" y="45244"/>
                  </a:lnTo>
                  <a:lnTo>
                    <a:pt x="180975" y="0"/>
                  </a:lnTo>
                  <a:lnTo>
                    <a:pt x="150019" y="30957"/>
                  </a:lnTo>
                  <a:lnTo>
                    <a:pt x="121444"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grpSp>
      <p:grpSp>
        <p:nvGrpSpPr>
          <p:cNvPr id="32779" name="5 Grupo"/>
          <p:cNvGrpSpPr>
            <a:grpSpLocks/>
          </p:cNvGrpSpPr>
          <p:nvPr/>
        </p:nvGrpSpPr>
        <p:grpSpPr bwMode="auto">
          <a:xfrm>
            <a:off x="7332663" y="4643438"/>
            <a:ext cx="1598612" cy="1782762"/>
            <a:chOff x="7332202" y="4643782"/>
            <a:chExt cx="1599836" cy="1782572"/>
          </a:xfrm>
        </p:grpSpPr>
        <p:sp>
          <p:nvSpPr>
            <p:cNvPr id="75" name="Freeform 20488"/>
            <p:cNvSpPr/>
            <p:nvPr/>
          </p:nvSpPr>
          <p:spPr>
            <a:xfrm>
              <a:off x="7371919" y="4900930"/>
              <a:ext cx="1560119" cy="1206371"/>
            </a:xfrm>
            <a:custGeom>
              <a:avLst/>
              <a:gdLst>
                <a:gd name="connsiteX0" fmla="*/ 12665 w 1388065"/>
                <a:gd name="connsiteY0" fmla="*/ 932131 h 1073977"/>
                <a:gd name="connsiteX1" fmla="*/ 0 w 1388065"/>
                <a:gd name="connsiteY1" fmla="*/ 699098 h 1073977"/>
                <a:gd name="connsiteX2" fmla="*/ 58259 w 1388065"/>
                <a:gd name="connsiteY2" fmla="*/ 668703 h 1073977"/>
                <a:gd name="connsiteX3" fmla="*/ 75989 w 1388065"/>
                <a:gd name="connsiteY3" fmla="*/ 691499 h 1073977"/>
                <a:gd name="connsiteX4" fmla="*/ 98786 w 1388065"/>
                <a:gd name="connsiteY4" fmla="*/ 643373 h 1073977"/>
                <a:gd name="connsiteX5" fmla="*/ 164643 w 1388065"/>
                <a:gd name="connsiteY5" fmla="*/ 645906 h 1073977"/>
                <a:gd name="connsiteX6" fmla="*/ 238099 w 1388065"/>
                <a:gd name="connsiteY6" fmla="*/ 618044 h 1073977"/>
                <a:gd name="connsiteX7" fmla="*/ 265962 w 1388065"/>
                <a:gd name="connsiteY7" fmla="*/ 612978 h 1073977"/>
                <a:gd name="connsiteX8" fmla="*/ 233033 w 1388065"/>
                <a:gd name="connsiteY8" fmla="*/ 476198 h 1073977"/>
                <a:gd name="connsiteX9" fmla="*/ 200105 w 1388065"/>
                <a:gd name="connsiteY9" fmla="*/ 483796 h 1073977"/>
                <a:gd name="connsiteX10" fmla="*/ 189973 w 1388065"/>
                <a:gd name="connsiteY10" fmla="*/ 445802 h 1073977"/>
                <a:gd name="connsiteX11" fmla="*/ 184907 w 1388065"/>
                <a:gd name="connsiteY11" fmla="*/ 412873 h 1073977"/>
                <a:gd name="connsiteX12" fmla="*/ 255830 w 1388065"/>
                <a:gd name="connsiteY12" fmla="*/ 390077 h 1073977"/>
                <a:gd name="connsiteX13" fmla="*/ 329286 w 1388065"/>
                <a:gd name="connsiteY13" fmla="*/ 354615 h 1073977"/>
                <a:gd name="connsiteX14" fmla="*/ 374879 w 1388065"/>
                <a:gd name="connsiteY14" fmla="*/ 124116 h 1073977"/>
                <a:gd name="connsiteX15" fmla="*/ 448335 w 1388065"/>
                <a:gd name="connsiteY15" fmla="*/ 0 h 1073977"/>
                <a:gd name="connsiteX16" fmla="*/ 438203 w 1388065"/>
                <a:gd name="connsiteY16" fmla="*/ 86121 h 1073977"/>
                <a:gd name="connsiteX17" fmla="*/ 420472 w 1388065"/>
                <a:gd name="connsiteY17" fmla="*/ 103852 h 1073977"/>
                <a:gd name="connsiteX18" fmla="*/ 377412 w 1388065"/>
                <a:gd name="connsiteY18" fmla="*/ 141846 h 1073977"/>
                <a:gd name="connsiteX19" fmla="*/ 453401 w 1388065"/>
                <a:gd name="connsiteY19" fmla="*/ 189973 h 1073977"/>
                <a:gd name="connsiteX20" fmla="*/ 476198 w 1388065"/>
                <a:gd name="connsiteY20" fmla="*/ 410340 h 1073977"/>
                <a:gd name="connsiteX21" fmla="*/ 478731 w 1388065"/>
                <a:gd name="connsiteY21" fmla="*/ 585115 h 1073977"/>
                <a:gd name="connsiteX22" fmla="*/ 686434 w 1388065"/>
                <a:gd name="connsiteY22" fmla="*/ 726961 h 1073977"/>
                <a:gd name="connsiteX23" fmla="*/ 833346 w 1388065"/>
                <a:gd name="connsiteY23" fmla="*/ 734560 h 1073977"/>
                <a:gd name="connsiteX24" fmla="*/ 1003054 w 1388065"/>
                <a:gd name="connsiteY24" fmla="*/ 691499 h 1073977"/>
                <a:gd name="connsiteX25" fmla="*/ 1051180 w 1388065"/>
                <a:gd name="connsiteY25" fmla="*/ 618044 h 1073977"/>
                <a:gd name="connsiteX26" fmla="*/ 1094241 w 1388065"/>
                <a:gd name="connsiteY26" fmla="*/ 643373 h 1073977"/>
                <a:gd name="connsiteX27" fmla="*/ 1129702 w 1388065"/>
                <a:gd name="connsiteY27" fmla="*/ 602846 h 1073977"/>
                <a:gd name="connsiteX28" fmla="*/ 1190493 w 1388065"/>
                <a:gd name="connsiteY28" fmla="*/ 605379 h 1073977"/>
                <a:gd name="connsiteX29" fmla="*/ 1274081 w 1388065"/>
                <a:gd name="connsiteY29" fmla="*/ 595247 h 1073977"/>
                <a:gd name="connsiteX30" fmla="*/ 1337405 w 1388065"/>
                <a:gd name="connsiteY30" fmla="*/ 630708 h 1073977"/>
                <a:gd name="connsiteX31" fmla="*/ 1377933 w 1388065"/>
                <a:gd name="connsiteY31" fmla="*/ 597780 h 1073977"/>
                <a:gd name="connsiteX32" fmla="*/ 1388065 w 1388065"/>
                <a:gd name="connsiteY32" fmla="*/ 962527 h 1073977"/>
                <a:gd name="connsiteX33" fmla="*/ 48127 w 1388065"/>
                <a:gd name="connsiteY33" fmla="*/ 1073977 h 1073977"/>
                <a:gd name="connsiteX34" fmla="*/ 12665 w 1388065"/>
                <a:gd name="connsiteY34" fmla="*/ 932131 h 107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88065" h="1073977">
                  <a:moveTo>
                    <a:pt x="12665" y="932131"/>
                  </a:moveTo>
                  <a:lnTo>
                    <a:pt x="0" y="699098"/>
                  </a:lnTo>
                  <a:lnTo>
                    <a:pt x="58259" y="668703"/>
                  </a:lnTo>
                  <a:lnTo>
                    <a:pt x="75989" y="691499"/>
                  </a:lnTo>
                  <a:lnTo>
                    <a:pt x="98786" y="643373"/>
                  </a:lnTo>
                  <a:lnTo>
                    <a:pt x="164643" y="645906"/>
                  </a:lnTo>
                  <a:lnTo>
                    <a:pt x="238099" y="618044"/>
                  </a:lnTo>
                  <a:lnTo>
                    <a:pt x="265962" y="612978"/>
                  </a:lnTo>
                  <a:lnTo>
                    <a:pt x="233033" y="476198"/>
                  </a:lnTo>
                  <a:lnTo>
                    <a:pt x="200105" y="483796"/>
                  </a:lnTo>
                  <a:lnTo>
                    <a:pt x="189973" y="445802"/>
                  </a:lnTo>
                  <a:lnTo>
                    <a:pt x="184907" y="412873"/>
                  </a:lnTo>
                  <a:lnTo>
                    <a:pt x="255830" y="390077"/>
                  </a:lnTo>
                  <a:lnTo>
                    <a:pt x="329286" y="354615"/>
                  </a:lnTo>
                  <a:lnTo>
                    <a:pt x="374879" y="124116"/>
                  </a:lnTo>
                  <a:lnTo>
                    <a:pt x="448335" y="0"/>
                  </a:lnTo>
                  <a:lnTo>
                    <a:pt x="438203" y="86121"/>
                  </a:lnTo>
                  <a:lnTo>
                    <a:pt x="420472" y="103852"/>
                  </a:lnTo>
                  <a:lnTo>
                    <a:pt x="377412" y="141846"/>
                  </a:lnTo>
                  <a:lnTo>
                    <a:pt x="453401" y="189973"/>
                  </a:lnTo>
                  <a:lnTo>
                    <a:pt x="476198" y="410340"/>
                  </a:lnTo>
                  <a:cubicBezTo>
                    <a:pt x="477042" y="468598"/>
                    <a:pt x="477887" y="526857"/>
                    <a:pt x="478731" y="585115"/>
                  </a:cubicBezTo>
                  <a:lnTo>
                    <a:pt x="686434" y="726961"/>
                  </a:lnTo>
                  <a:lnTo>
                    <a:pt x="833346" y="734560"/>
                  </a:lnTo>
                  <a:lnTo>
                    <a:pt x="1003054" y="691499"/>
                  </a:lnTo>
                  <a:lnTo>
                    <a:pt x="1051180" y="618044"/>
                  </a:lnTo>
                  <a:lnTo>
                    <a:pt x="1094241" y="643373"/>
                  </a:lnTo>
                  <a:lnTo>
                    <a:pt x="1129702" y="602846"/>
                  </a:lnTo>
                  <a:lnTo>
                    <a:pt x="1190493" y="605379"/>
                  </a:lnTo>
                  <a:lnTo>
                    <a:pt x="1274081" y="595247"/>
                  </a:lnTo>
                  <a:lnTo>
                    <a:pt x="1337405" y="630708"/>
                  </a:lnTo>
                  <a:lnTo>
                    <a:pt x="1377933" y="597780"/>
                  </a:lnTo>
                  <a:lnTo>
                    <a:pt x="1388065" y="962527"/>
                  </a:lnTo>
                  <a:lnTo>
                    <a:pt x="48127" y="1073977"/>
                  </a:lnTo>
                  <a:lnTo>
                    <a:pt x="12665" y="93213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6" name="Freeform 47"/>
            <p:cNvSpPr/>
            <p:nvPr/>
          </p:nvSpPr>
          <p:spPr>
            <a:xfrm>
              <a:off x="7856478" y="5796184"/>
              <a:ext cx="90556" cy="88891"/>
            </a:xfrm>
            <a:custGeom>
              <a:avLst/>
              <a:gdLst>
                <a:gd name="connsiteX0" fmla="*/ 81055 w 81055"/>
                <a:gd name="connsiteY0" fmla="*/ 0 h 78522"/>
                <a:gd name="connsiteX1" fmla="*/ 68390 w 81055"/>
                <a:gd name="connsiteY1" fmla="*/ 53192 h 78522"/>
                <a:gd name="connsiteX2" fmla="*/ 22797 w 81055"/>
                <a:gd name="connsiteY2" fmla="*/ 78522 h 78522"/>
                <a:gd name="connsiteX3" fmla="*/ 0 w 81055"/>
                <a:gd name="connsiteY3" fmla="*/ 53192 h 78522"/>
                <a:gd name="connsiteX4" fmla="*/ 81055 w 81055"/>
                <a:gd name="connsiteY4" fmla="*/ 0 h 7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55" h="78522">
                  <a:moveTo>
                    <a:pt x="81055" y="0"/>
                  </a:moveTo>
                  <a:lnTo>
                    <a:pt x="68390" y="53192"/>
                  </a:lnTo>
                  <a:lnTo>
                    <a:pt x="22797" y="78522"/>
                  </a:lnTo>
                  <a:lnTo>
                    <a:pt x="0" y="53192"/>
                  </a:lnTo>
                  <a:lnTo>
                    <a:pt x="81055"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77" name="Freeform 48"/>
            <p:cNvSpPr/>
            <p:nvPr/>
          </p:nvSpPr>
          <p:spPr>
            <a:xfrm>
              <a:off x="8063011" y="5727928"/>
              <a:ext cx="133452" cy="200004"/>
            </a:xfrm>
            <a:custGeom>
              <a:avLst/>
              <a:gdLst>
                <a:gd name="connsiteX0" fmla="*/ 22796 w 119049"/>
                <a:gd name="connsiteY0" fmla="*/ 121582 h 177307"/>
                <a:gd name="connsiteX1" fmla="*/ 0 w 119049"/>
                <a:gd name="connsiteY1" fmla="*/ 162110 h 177307"/>
                <a:gd name="connsiteX2" fmla="*/ 30395 w 119049"/>
                <a:gd name="connsiteY2" fmla="*/ 177307 h 177307"/>
                <a:gd name="connsiteX3" fmla="*/ 98785 w 119049"/>
                <a:gd name="connsiteY3" fmla="*/ 159577 h 177307"/>
                <a:gd name="connsiteX4" fmla="*/ 119049 w 119049"/>
                <a:gd name="connsiteY4" fmla="*/ 98786 h 177307"/>
                <a:gd name="connsiteX5" fmla="*/ 116516 w 119049"/>
                <a:gd name="connsiteY5" fmla="*/ 17731 h 177307"/>
                <a:gd name="connsiteX6" fmla="*/ 78521 w 119049"/>
                <a:gd name="connsiteY6" fmla="*/ 0 h 177307"/>
                <a:gd name="connsiteX7" fmla="*/ 22796 w 119049"/>
                <a:gd name="connsiteY7" fmla="*/ 121582 h 177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49" h="177307">
                  <a:moveTo>
                    <a:pt x="22796" y="121582"/>
                  </a:moveTo>
                  <a:lnTo>
                    <a:pt x="0" y="162110"/>
                  </a:lnTo>
                  <a:lnTo>
                    <a:pt x="30395" y="177307"/>
                  </a:lnTo>
                  <a:lnTo>
                    <a:pt x="98785" y="159577"/>
                  </a:lnTo>
                  <a:lnTo>
                    <a:pt x="119049" y="98786"/>
                  </a:lnTo>
                  <a:cubicBezTo>
                    <a:pt x="118205" y="71768"/>
                    <a:pt x="117360" y="44749"/>
                    <a:pt x="116516" y="17731"/>
                  </a:cubicBezTo>
                  <a:lnTo>
                    <a:pt x="78521" y="0"/>
                  </a:lnTo>
                  <a:lnTo>
                    <a:pt x="22796" y="121582"/>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78" name="Freeform 49"/>
            <p:cNvSpPr/>
            <p:nvPr/>
          </p:nvSpPr>
          <p:spPr>
            <a:xfrm>
              <a:off x="7662655" y="5300937"/>
              <a:ext cx="93734" cy="211114"/>
            </a:xfrm>
            <a:custGeom>
              <a:avLst/>
              <a:gdLst>
                <a:gd name="connsiteX0" fmla="*/ 0 w 83587"/>
                <a:gd name="connsiteY0" fmla="*/ 0 h 187440"/>
                <a:gd name="connsiteX1" fmla="*/ 5066 w 83587"/>
                <a:gd name="connsiteY1" fmla="*/ 58259 h 187440"/>
                <a:gd name="connsiteX2" fmla="*/ 32928 w 83587"/>
                <a:gd name="connsiteY2" fmla="*/ 96253 h 187440"/>
                <a:gd name="connsiteX3" fmla="*/ 10132 w 83587"/>
                <a:gd name="connsiteY3" fmla="*/ 141846 h 187440"/>
                <a:gd name="connsiteX4" fmla="*/ 45593 w 83587"/>
                <a:gd name="connsiteY4" fmla="*/ 162110 h 187440"/>
                <a:gd name="connsiteX5" fmla="*/ 37994 w 83587"/>
                <a:gd name="connsiteY5" fmla="*/ 187440 h 187440"/>
                <a:gd name="connsiteX6" fmla="*/ 81055 w 83587"/>
                <a:gd name="connsiteY6" fmla="*/ 169709 h 187440"/>
                <a:gd name="connsiteX7" fmla="*/ 83587 w 83587"/>
                <a:gd name="connsiteY7" fmla="*/ 98786 h 187440"/>
                <a:gd name="connsiteX8" fmla="*/ 40527 w 83587"/>
                <a:gd name="connsiteY8" fmla="*/ 53193 h 187440"/>
                <a:gd name="connsiteX9" fmla="*/ 0 w 83587"/>
                <a:gd name="connsiteY9" fmla="*/ 0 h 18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587" h="187440">
                  <a:moveTo>
                    <a:pt x="0" y="0"/>
                  </a:moveTo>
                  <a:lnTo>
                    <a:pt x="5066" y="58259"/>
                  </a:lnTo>
                  <a:lnTo>
                    <a:pt x="32928" y="96253"/>
                  </a:lnTo>
                  <a:lnTo>
                    <a:pt x="10132" y="141846"/>
                  </a:lnTo>
                  <a:lnTo>
                    <a:pt x="45593" y="162110"/>
                  </a:lnTo>
                  <a:lnTo>
                    <a:pt x="37994" y="187440"/>
                  </a:lnTo>
                  <a:lnTo>
                    <a:pt x="81055" y="169709"/>
                  </a:lnTo>
                  <a:lnTo>
                    <a:pt x="83587" y="98786"/>
                  </a:lnTo>
                  <a:lnTo>
                    <a:pt x="40527" y="53193"/>
                  </a:lnTo>
                  <a:lnTo>
                    <a:pt x="0"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79" name="Freeform 50"/>
            <p:cNvSpPr/>
            <p:nvPr/>
          </p:nvSpPr>
          <p:spPr>
            <a:xfrm>
              <a:off x="7792929" y="4935851"/>
              <a:ext cx="49250" cy="96827"/>
            </a:xfrm>
            <a:custGeom>
              <a:avLst/>
              <a:gdLst>
                <a:gd name="connsiteX0" fmla="*/ 45593 w 45593"/>
                <a:gd name="connsiteY0" fmla="*/ 0 h 86121"/>
                <a:gd name="connsiteX1" fmla="*/ 0 w 45593"/>
                <a:gd name="connsiteY1" fmla="*/ 65857 h 86121"/>
                <a:gd name="connsiteX2" fmla="*/ 7599 w 45593"/>
                <a:gd name="connsiteY2" fmla="*/ 86121 h 86121"/>
                <a:gd name="connsiteX3" fmla="*/ 45593 w 45593"/>
                <a:gd name="connsiteY3" fmla="*/ 0 h 86121"/>
              </a:gdLst>
              <a:ahLst/>
              <a:cxnLst>
                <a:cxn ang="0">
                  <a:pos x="connsiteX0" y="connsiteY0"/>
                </a:cxn>
                <a:cxn ang="0">
                  <a:pos x="connsiteX1" y="connsiteY1"/>
                </a:cxn>
                <a:cxn ang="0">
                  <a:pos x="connsiteX2" y="connsiteY2"/>
                </a:cxn>
                <a:cxn ang="0">
                  <a:pos x="connsiteX3" y="connsiteY3"/>
                </a:cxn>
              </a:cxnLst>
              <a:rect l="l" t="t" r="r" b="b"/>
              <a:pathLst>
                <a:path w="45593" h="86121">
                  <a:moveTo>
                    <a:pt x="45593" y="0"/>
                  </a:moveTo>
                  <a:lnTo>
                    <a:pt x="0" y="65857"/>
                  </a:lnTo>
                  <a:lnTo>
                    <a:pt x="7599" y="86121"/>
                  </a:lnTo>
                  <a:lnTo>
                    <a:pt x="45593"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80" name="Freeform 51"/>
            <p:cNvSpPr/>
            <p:nvPr/>
          </p:nvSpPr>
          <p:spPr>
            <a:xfrm>
              <a:off x="7934325" y="4881882"/>
              <a:ext cx="58783" cy="9524"/>
            </a:xfrm>
            <a:custGeom>
              <a:avLst/>
              <a:gdLst>
                <a:gd name="connsiteX0" fmla="*/ 0 w 50659"/>
                <a:gd name="connsiteY0" fmla="*/ 0 h 7599"/>
                <a:gd name="connsiteX1" fmla="*/ 50659 w 50659"/>
                <a:gd name="connsiteY1" fmla="*/ 7599 h 7599"/>
                <a:gd name="connsiteX2" fmla="*/ 0 w 50659"/>
                <a:gd name="connsiteY2" fmla="*/ 0 h 7599"/>
              </a:gdLst>
              <a:ahLst/>
              <a:cxnLst>
                <a:cxn ang="0">
                  <a:pos x="connsiteX0" y="connsiteY0"/>
                </a:cxn>
                <a:cxn ang="0">
                  <a:pos x="connsiteX1" y="connsiteY1"/>
                </a:cxn>
                <a:cxn ang="0">
                  <a:pos x="connsiteX2" y="connsiteY2"/>
                </a:cxn>
              </a:cxnLst>
              <a:rect l="l" t="t" r="r" b="b"/>
              <a:pathLst>
                <a:path w="50659" h="7599">
                  <a:moveTo>
                    <a:pt x="0" y="0"/>
                  </a:moveTo>
                  <a:lnTo>
                    <a:pt x="50659" y="7599"/>
                  </a:lnTo>
                  <a:lnTo>
                    <a:pt x="0"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86" name="Freeform 53"/>
            <p:cNvSpPr/>
            <p:nvPr/>
          </p:nvSpPr>
          <p:spPr>
            <a:xfrm>
              <a:off x="7891430" y="5783486"/>
              <a:ext cx="573526" cy="619059"/>
            </a:xfrm>
            <a:custGeom>
              <a:avLst/>
              <a:gdLst>
                <a:gd name="connsiteX0" fmla="*/ 0 w 511659"/>
                <a:gd name="connsiteY0" fmla="*/ 222901 h 658571"/>
                <a:gd name="connsiteX1" fmla="*/ 0 w 511659"/>
                <a:gd name="connsiteY1" fmla="*/ 222901 h 658571"/>
                <a:gd name="connsiteX2" fmla="*/ 55725 w 511659"/>
                <a:gd name="connsiteY2" fmla="*/ 245698 h 658571"/>
                <a:gd name="connsiteX3" fmla="*/ 68390 w 511659"/>
                <a:gd name="connsiteY3" fmla="*/ 197571 h 658571"/>
                <a:gd name="connsiteX4" fmla="*/ 53192 w 511659"/>
                <a:gd name="connsiteY4" fmla="*/ 159577 h 658571"/>
                <a:gd name="connsiteX5" fmla="*/ 93719 w 511659"/>
                <a:gd name="connsiteY5" fmla="*/ 141846 h 658571"/>
                <a:gd name="connsiteX6" fmla="*/ 116516 w 511659"/>
                <a:gd name="connsiteY6" fmla="*/ 179841 h 658571"/>
                <a:gd name="connsiteX7" fmla="*/ 149445 w 511659"/>
                <a:gd name="connsiteY7" fmla="*/ 202637 h 658571"/>
                <a:gd name="connsiteX8" fmla="*/ 93719 w 511659"/>
                <a:gd name="connsiteY8" fmla="*/ 238099 h 658571"/>
                <a:gd name="connsiteX9" fmla="*/ 88654 w 511659"/>
                <a:gd name="connsiteY9" fmla="*/ 271027 h 658571"/>
                <a:gd name="connsiteX10" fmla="*/ 151978 w 511659"/>
                <a:gd name="connsiteY10" fmla="*/ 311555 h 658571"/>
                <a:gd name="connsiteX11" fmla="*/ 189972 w 511659"/>
                <a:gd name="connsiteY11" fmla="*/ 248231 h 658571"/>
                <a:gd name="connsiteX12" fmla="*/ 250763 w 511659"/>
                <a:gd name="connsiteY12" fmla="*/ 250764 h 658571"/>
                <a:gd name="connsiteX13" fmla="*/ 306488 w 511659"/>
                <a:gd name="connsiteY13" fmla="*/ 200104 h 658571"/>
                <a:gd name="connsiteX14" fmla="*/ 354615 w 511659"/>
                <a:gd name="connsiteY14" fmla="*/ 243165 h 658571"/>
                <a:gd name="connsiteX15" fmla="*/ 382477 w 511659"/>
                <a:gd name="connsiteY15" fmla="*/ 195038 h 658571"/>
                <a:gd name="connsiteX16" fmla="*/ 430604 w 511659"/>
                <a:gd name="connsiteY16" fmla="*/ 159577 h 658571"/>
                <a:gd name="connsiteX17" fmla="*/ 435670 w 511659"/>
                <a:gd name="connsiteY17" fmla="*/ 111451 h 658571"/>
                <a:gd name="connsiteX18" fmla="*/ 390076 w 511659"/>
                <a:gd name="connsiteY18" fmla="*/ 129181 h 658571"/>
                <a:gd name="connsiteX19" fmla="*/ 354615 w 511659"/>
                <a:gd name="connsiteY19" fmla="*/ 78522 h 658571"/>
                <a:gd name="connsiteX20" fmla="*/ 483796 w 511659"/>
                <a:gd name="connsiteY20" fmla="*/ 0 h 658571"/>
                <a:gd name="connsiteX21" fmla="*/ 511659 w 511659"/>
                <a:gd name="connsiteY21" fmla="*/ 30396 h 658571"/>
                <a:gd name="connsiteX22" fmla="*/ 215302 w 511659"/>
                <a:gd name="connsiteY22" fmla="*/ 658571 h 658571"/>
                <a:gd name="connsiteX23" fmla="*/ 0 w 511659"/>
                <a:gd name="connsiteY23" fmla="*/ 222901 h 658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1659" h="658571">
                  <a:moveTo>
                    <a:pt x="0" y="222901"/>
                  </a:moveTo>
                  <a:lnTo>
                    <a:pt x="0" y="222901"/>
                  </a:lnTo>
                  <a:lnTo>
                    <a:pt x="55725" y="245698"/>
                  </a:lnTo>
                  <a:lnTo>
                    <a:pt x="68390" y="197571"/>
                  </a:lnTo>
                  <a:lnTo>
                    <a:pt x="53192" y="159577"/>
                  </a:lnTo>
                  <a:lnTo>
                    <a:pt x="93719" y="141846"/>
                  </a:lnTo>
                  <a:lnTo>
                    <a:pt x="116516" y="179841"/>
                  </a:lnTo>
                  <a:lnTo>
                    <a:pt x="149445" y="202637"/>
                  </a:lnTo>
                  <a:lnTo>
                    <a:pt x="93719" y="238099"/>
                  </a:lnTo>
                  <a:lnTo>
                    <a:pt x="88654" y="271027"/>
                  </a:lnTo>
                  <a:lnTo>
                    <a:pt x="151978" y="311555"/>
                  </a:lnTo>
                  <a:lnTo>
                    <a:pt x="189972" y="248231"/>
                  </a:lnTo>
                  <a:lnTo>
                    <a:pt x="250763" y="250764"/>
                  </a:lnTo>
                  <a:lnTo>
                    <a:pt x="306488" y="200104"/>
                  </a:lnTo>
                  <a:lnTo>
                    <a:pt x="354615" y="243165"/>
                  </a:lnTo>
                  <a:lnTo>
                    <a:pt x="382477" y="195038"/>
                  </a:lnTo>
                  <a:lnTo>
                    <a:pt x="430604" y="159577"/>
                  </a:lnTo>
                  <a:lnTo>
                    <a:pt x="435670" y="111451"/>
                  </a:lnTo>
                  <a:lnTo>
                    <a:pt x="390076" y="129181"/>
                  </a:lnTo>
                  <a:lnTo>
                    <a:pt x="354615" y="78522"/>
                  </a:lnTo>
                  <a:lnTo>
                    <a:pt x="483796" y="0"/>
                  </a:lnTo>
                  <a:lnTo>
                    <a:pt x="511659" y="30396"/>
                  </a:lnTo>
                  <a:lnTo>
                    <a:pt x="215302" y="658571"/>
                  </a:lnTo>
                  <a:lnTo>
                    <a:pt x="0" y="222901"/>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a:solidFill>
                  <a:schemeClr val="bg1"/>
                </a:solidFill>
                <a:ea typeface="ＭＳ Ｐゴシック" charset="-128"/>
              </a:endParaRPr>
            </a:p>
          </p:txBody>
        </p:sp>
        <p:sp>
          <p:nvSpPr>
            <p:cNvPr id="88" name="Freeform 26"/>
            <p:cNvSpPr/>
            <p:nvPr/>
          </p:nvSpPr>
          <p:spPr>
            <a:xfrm>
              <a:off x="7332202" y="4643782"/>
              <a:ext cx="1599836" cy="1782572"/>
            </a:xfrm>
            <a:custGeom>
              <a:avLst/>
              <a:gdLst>
                <a:gd name="connsiteX0" fmla="*/ 0 w 1350169"/>
                <a:gd name="connsiteY0" fmla="*/ 164307 h 1585913"/>
                <a:gd name="connsiteX1" fmla="*/ 671513 w 1350169"/>
                <a:gd name="connsiteY1" fmla="*/ 1585913 h 1585913"/>
                <a:gd name="connsiteX2" fmla="*/ 1350169 w 1350169"/>
                <a:gd name="connsiteY2" fmla="*/ 154782 h 1585913"/>
                <a:gd name="connsiteX3" fmla="*/ 1143000 w 1350169"/>
                <a:gd name="connsiteY3" fmla="*/ 64294 h 1585913"/>
                <a:gd name="connsiteX4" fmla="*/ 928688 w 1350169"/>
                <a:gd name="connsiteY4" fmla="*/ 16669 h 1585913"/>
                <a:gd name="connsiteX5" fmla="*/ 681038 w 1350169"/>
                <a:gd name="connsiteY5" fmla="*/ 0 h 1585913"/>
                <a:gd name="connsiteX6" fmla="*/ 442913 w 1350169"/>
                <a:gd name="connsiteY6" fmla="*/ 16669 h 1585913"/>
                <a:gd name="connsiteX7" fmla="*/ 128588 w 1350169"/>
                <a:gd name="connsiteY7" fmla="*/ 102394 h 1585913"/>
                <a:gd name="connsiteX8" fmla="*/ 0 w 1350169"/>
                <a:gd name="connsiteY8" fmla="*/ 164307 h 1585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0169" h="1585913">
                  <a:moveTo>
                    <a:pt x="0" y="164307"/>
                  </a:moveTo>
                  <a:lnTo>
                    <a:pt x="671513" y="1585913"/>
                  </a:lnTo>
                  <a:lnTo>
                    <a:pt x="1350169" y="154782"/>
                  </a:lnTo>
                  <a:lnTo>
                    <a:pt x="1143000" y="64294"/>
                  </a:lnTo>
                  <a:lnTo>
                    <a:pt x="928688" y="16669"/>
                  </a:lnTo>
                  <a:lnTo>
                    <a:pt x="681038" y="0"/>
                  </a:lnTo>
                  <a:lnTo>
                    <a:pt x="442913" y="16669"/>
                  </a:lnTo>
                  <a:lnTo>
                    <a:pt x="128588" y="102394"/>
                  </a:lnTo>
                  <a:lnTo>
                    <a:pt x="0" y="164307"/>
                  </a:ln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sp>
        <p:nvSpPr>
          <p:cNvPr id="33805" name="Rectangle 7"/>
          <p:cNvSpPr>
            <a:spLocks noChangeArrowheads="1"/>
          </p:cNvSpPr>
          <p:nvPr/>
        </p:nvSpPr>
        <p:spPr bwMode="auto">
          <a:xfrm>
            <a:off x="6929438" y="1560513"/>
            <a:ext cx="2127250" cy="523875"/>
          </a:xfrm>
          <a:prstGeom prst="rect">
            <a:avLst/>
          </a:prstGeom>
          <a:noFill/>
          <a:ln>
            <a:noFill/>
          </a:ln>
          <a:extLst/>
        </p:spPr>
        <p:txBody>
          <a:bodyPr>
            <a:spAutoFit/>
          </a:bodyPr>
          <a:lstStyle/>
          <a:p>
            <a:pPr algn="ctr">
              <a:spcBef>
                <a:spcPct val="40000"/>
              </a:spcBef>
              <a:defRPr/>
            </a:pPr>
            <a:r>
              <a:rPr lang="es-ES" altLang="es-ES_tradnl" sz="1400">
                <a:solidFill>
                  <a:schemeClr val="tx1"/>
                </a:solidFill>
                <a:latin typeface="+mn-lt"/>
                <a:cs typeface="Arial" charset="0"/>
              </a:rPr>
              <a:t>Universidad Nacional del Comahue</a:t>
            </a:r>
          </a:p>
        </p:txBody>
      </p:sp>
      <p:sp>
        <p:nvSpPr>
          <p:cNvPr id="33806" name="Rectangle 7"/>
          <p:cNvSpPr>
            <a:spLocks noChangeArrowheads="1"/>
          </p:cNvSpPr>
          <p:nvPr/>
        </p:nvSpPr>
        <p:spPr bwMode="auto">
          <a:xfrm>
            <a:off x="7040563" y="2613025"/>
            <a:ext cx="2127250" cy="523875"/>
          </a:xfrm>
          <a:prstGeom prst="rect">
            <a:avLst/>
          </a:prstGeom>
          <a:noFill/>
          <a:ln>
            <a:noFill/>
          </a:ln>
          <a:extLst/>
        </p:spPr>
        <p:txBody>
          <a:bodyPr>
            <a:spAutoFit/>
          </a:bodyPr>
          <a:lstStyle/>
          <a:p>
            <a:pPr algn="ctr">
              <a:spcBef>
                <a:spcPct val="40000"/>
              </a:spcBef>
              <a:defRPr/>
            </a:pPr>
            <a:r>
              <a:rPr lang="es-ES" altLang="es-ES_tradnl" sz="1400">
                <a:solidFill>
                  <a:schemeClr val="tx1"/>
                </a:solidFill>
                <a:latin typeface="+mn-lt"/>
                <a:cs typeface="Arial" charset="0"/>
              </a:rPr>
              <a:t>Universidad Nacional de Río Negro</a:t>
            </a:r>
          </a:p>
        </p:txBody>
      </p:sp>
      <p:sp>
        <p:nvSpPr>
          <p:cNvPr id="33807" name="Rectangle 7"/>
          <p:cNvSpPr>
            <a:spLocks noChangeArrowheads="1"/>
          </p:cNvSpPr>
          <p:nvPr/>
        </p:nvSpPr>
        <p:spPr bwMode="auto">
          <a:xfrm>
            <a:off x="6929438" y="3524250"/>
            <a:ext cx="2127250" cy="523875"/>
          </a:xfrm>
          <a:prstGeom prst="rect">
            <a:avLst/>
          </a:prstGeom>
          <a:noFill/>
          <a:ln>
            <a:noFill/>
          </a:ln>
          <a:extLst/>
        </p:spPr>
        <p:txBody>
          <a:bodyPr>
            <a:spAutoFit/>
          </a:bodyPr>
          <a:lstStyle/>
          <a:p>
            <a:pPr algn="ctr">
              <a:spcBef>
                <a:spcPct val="40000"/>
              </a:spcBef>
              <a:defRPr/>
            </a:pPr>
            <a:r>
              <a:rPr lang="es-ES" altLang="es-ES_tradnl" sz="1400">
                <a:solidFill>
                  <a:schemeClr val="tx1"/>
                </a:solidFill>
                <a:latin typeface="+mn-lt"/>
                <a:cs typeface="Arial" charset="0"/>
              </a:rPr>
              <a:t>Universidad Nacional de la Patagonia SJB</a:t>
            </a:r>
          </a:p>
        </p:txBody>
      </p:sp>
      <p:sp>
        <p:nvSpPr>
          <p:cNvPr id="32783" name="Line 25"/>
          <p:cNvSpPr>
            <a:spLocks noChangeShapeType="1"/>
          </p:cNvSpPr>
          <p:nvPr/>
        </p:nvSpPr>
        <p:spPr bwMode="auto">
          <a:xfrm flipV="1">
            <a:off x="4438650" y="2871788"/>
            <a:ext cx="2579688" cy="109537"/>
          </a:xfrm>
          <a:prstGeom prst="line">
            <a:avLst/>
          </a:prstGeom>
          <a:noFill/>
          <a:ln w="12700">
            <a:solidFill>
              <a:schemeClr val="tx1"/>
            </a:solidFill>
            <a:round/>
            <a:headEnd/>
            <a:tailEnd type="triangle" w="med" len="med"/>
          </a:ln>
          <a:extLst>
            <a:ext uri="{909E8E84-426E-40DD-AFC4-6F175D3DCCD1}">
              <a14:hiddenFill xmlns="" xmlns:a14="http://schemas.microsoft.com/office/drawing/2010/main">
                <a:noFill/>
              </a14:hiddenFill>
            </a:ext>
          </a:extLst>
        </p:spPr>
        <p:txBody>
          <a:bodyPr wrap="none"/>
          <a:lstStyle/>
          <a:p>
            <a:endParaRPr lang="en-US"/>
          </a:p>
        </p:txBody>
      </p:sp>
      <p:sp>
        <p:nvSpPr>
          <p:cNvPr id="32784" name="Line 25"/>
          <p:cNvSpPr>
            <a:spLocks noChangeShapeType="1"/>
          </p:cNvSpPr>
          <p:nvPr/>
        </p:nvSpPr>
        <p:spPr bwMode="auto">
          <a:xfrm flipV="1">
            <a:off x="4956175" y="1906588"/>
            <a:ext cx="2011363" cy="369887"/>
          </a:xfrm>
          <a:prstGeom prst="line">
            <a:avLst/>
          </a:prstGeom>
          <a:noFill/>
          <a:ln w="12700">
            <a:solidFill>
              <a:schemeClr val="tx1"/>
            </a:solidFill>
            <a:round/>
            <a:headEnd/>
            <a:tailEnd type="triangle" w="med" len="med"/>
          </a:ln>
          <a:extLst>
            <a:ext uri="{909E8E84-426E-40DD-AFC4-6F175D3DCCD1}">
              <a14:hiddenFill xmlns="" xmlns:a14="http://schemas.microsoft.com/office/drawing/2010/main">
                <a:noFill/>
              </a14:hiddenFill>
            </a:ext>
          </a:extLst>
        </p:spPr>
        <p:txBody>
          <a:bodyPr wrap="none"/>
          <a:lstStyle/>
          <a:p>
            <a:endParaRPr lang="en-US"/>
          </a:p>
        </p:txBody>
      </p:sp>
      <p:sp>
        <p:nvSpPr>
          <p:cNvPr id="32785" name="Line 25"/>
          <p:cNvSpPr>
            <a:spLocks noChangeShapeType="1"/>
          </p:cNvSpPr>
          <p:nvPr/>
        </p:nvSpPr>
        <p:spPr bwMode="auto">
          <a:xfrm flipV="1">
            <a:off x="5184775" y="3786188"/>
            <a:ext cx="1744663" cy="90487"/>
          </a:xfrm>
          <a:prstGeom prst="line">
            <a:avLst/>
          </a:prstGeom>
          <a:noFill/>
          <a:ln w="12700">
            <a:solidFill>
              <a:schemeClr val="tx1"/>
            </a:solidFill>
            <a:round/>
            <a:headEnd/>
            <a:tailEnd type="triangle" w="med" len="med"/>
          </a:ln>
          <a:extLst>
            <a:ext uri="{909E8E84-426E-40DD-AFC4-6F175D3DCCD1}">
              <a14:hiddenFill xmlns="" xmlns:a14="http://schemas.microsoft.com/office/drawing/2010/main">
                <a:noFill/>
              </a14:hiddenFill>
            </a:ext>
          </a:extLst>
        </p:spPr>
        <p:txBody>
          <a:bodyPr wrap="none"/>
          <a:lstStyle/>
          <a:p>
            <a:endParaRPr lang="en-US"/>
          </a:p>
        </p:txBody>
      </p:sp>
      <p:sp>
        <p:nvSpPr>
          <p:cNvPr id="100" name="Freeform 43"/>
          <p:cNvSpPr/>
          <p:nvPr/>
        </p:nvSpPr>
        <p:spPr>
          <a:xfrm>
            <a:off x="5924550" y="2968625"/>
            <a:ext cx="82550" cy="68263"/>
          </a:xfrm>
          <a:custGeom>
            <a:avLst/>
            <a:gdLst>
              <a:gd name="connsiteX0" fmla="*/ 61783 w 74140"/>
              <a:gd name="connsiteY0" fmla="*/ 0 h 148281"/>
              <a:gd name="connsiteX1" fmla="*/ 0 w 74140"/>
              <a:gd name="connsiteY1" fmla="*/ 30891 h 148281"/>
              <a:gd name="connsiteX2" fmla="*/ 6178 w 74140"/>
              <a:gd name="connsiteY2" fmla="*/ 142102 h 148281"/>
              <a:gd name="connsiteX3" fmla="*/ 74140 w 74140"/>
              <a:gd name="connsiteY3" fmla="*/ 148281 h 148281"/>
              <a:gd name="connsiteX4" fmla="*/ 61783 w 74140"/>
              <a:gd name="connsiteY4" fmla="*/ 0 h 148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40" h="148281">
                <a:moveTo>
                  <a:pt x="61783" y="0"/>
                </a:moveTo>
                <a:lnTo>
                  <a:pt x="0" y="30891"/>
                </a:lnTo>
                <a:lnTo>
                  <a:pt x="6178" y="142102"/>
                </a:lnTo>
                <a:lnTo>
                  <a:pt x="74140" y="148281"/>
                </a:lnTo>
                <a:lnTo>
                  <a:pt x="61783" y="0"/>
                </a:lnTo>
                <a:close/>
              </a:path>
            </a:pathLst>
          </a:custGeom>
          <a:solidFill>
            <a:srgbClr val="003399"/>
          </a:solid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sz="1400">
              <a:solidFill>
                <a:schemeClr val="bg1"/>
              </a:solidFill>
              <a:ea typeface="ＭＳ Ｐゴシック" charset="-128"/>
            </a:endParaRPr>
          </a:p>
        </p:txBody>
      </p:sp>
      <p:sp>
        <p:nvSpPr>
          <p:cNvPr id="32787"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842FCF7A-DDA7-4FD9-89EF-12B064C05AEF}" type="slidenum">
              <a:rPr lang="es-ES_tradnl" altLang="es-AR" sz="1000" i="1">
                <a:solidFill>
                  <a:srgbClr val="000000"/>
                </a:solidFill>
                <a:latin typeface="Verdana" panose="020B0604030504040204" pitchFamily="34" charset="0"/>
              </a:rPr>
              <a:pPr algn="r" eaLnBrk="1" hangingPunct="1">
                <a:spcBef>
                  <a:spcPct val="0"/>
                </a:spcBef>
                <a:buFontTx/>
                <a:buNone/>
              </a:pPr>
              <a:t>30</a:t>
            </a:fld>
            <a:endParaRPr lang="es-ES_tradnl" altLang="es-AR" sz="1000" i="1">
              <a:solidFill>
                <a:srgbClr val="000000"/>
              </a:solidFill>
              <a:latin typeface="Verdana" panose="020B0604030504040204" pitchFamily="34" charset="0"/>
            </a:endParaRPr>
          </a:p>
        </p:txBody>
      </p:sp>
    </p:spTree>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4"/>
          <p:cNvSpPr>
            <a:spLocks noGrp="1" noChangeArrowheads="1"/>
          </p:cNvSpPr>
          <p:nvPr>
            <p:ph type="title" idx="4294967295"/>
          </p:nvPr>
        </p:nvSpPr>
        <p:spPr>
          <a:xfrm>
            <a:off x="0" y="274638"/>
            <a:ext cx="8915400" cy="781050"/>
          </a:xfrm>
        </p:spPr>
        <p:txBody>
          <a:bodyPr/>
          <a:lstStyle/>
          <a:p>
            <a:pPr>
              <a:defRPr/>
            </a:pPr>
            <a:r>
              <a:rPr lang="es-AR" altLang="es-ES_tradnl" sz="4000" dirty="0">
                <a:solidFill>
                  <a:srgbClr val="000066"/>
                </a:solidFill>
                <a:latin typeface="+mj-lt"/>
              </a:rPr>
              <a:t>Sedes del CELU en Brasil</a:t>
            </a:r>
            <a:endParaRPr lang="es-ES" altLang="es-ES_tradnl" sz="4000" dirty="0">
              <a:solidFill>
                <a:srgbClr val="000066"/>
              </a:solidFill>
              <a:latin typeface="+mj-lt"/>
            </a:endParaRPr>
          </a:p>
        </p:txBody>
      </p:sp>
      <p:pic>
        <p:nvPicPr>
          <p:cNvPr id="33795" name="Picture 26"/>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765425" y="1820863"/>
            <a:ext cx="3676650" cy="44862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4820" name="Text Box 10"/>
          <p:cNvSpPr txBox="1">
            <a:spLocks noChangeArrowheads="1"/>
          </p:cNvSpPr>
          <p:nvPr/>
        </p:nvSpPr>
        <p:spPr bwMode="auto">
          <a:xfrm>
            <a:off x="828675" y="4745038"/>
            <a:ext cx="1809750"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 altLang="es-ES_tradnl" sz="1400">
                <a:solidFill>
                  <a:schemeClr val="tx1"/>
                </a:solidFill>
                <a:latin typeface="+mn-lt"/>
                <a:cs typeface="Times New Roman" pitchFamily="18" charset="0"/>
              </a:rPr>
              <a:t>Universidad Federal de Santa María</a:t>
            </a:r>
          </a:p>
        </p:txBody>
      </p:sp>
      <p:sp>
        <p:nvSpPr>
          <p:cNvPr id="34821" name="Text Box 11"/>
          <p:cNvSpPr txBox="1">
            <a:spLocks noChangeArrowheads="1"/>
          </p:cNvSpPr>
          <p:nvPr/>
        </p:nvSpPr>
        <p:spPr bwMode="auto">
          <a:xfrm>
            <a:off x="777875" y="3513138"/>
            <a:ext cx="2316163" cy="846137"/>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 altLang="es-ES_tradnl" sz="1400" dirty="0">
                <a:solidFill>
                  <a:schemeClr val="tx1"/>
                </a:solidFill>
                <a:latin typeface="+mn-lt"/>
                <a:cs typeface="Times New Roman" pitchFamily="18" charset="0"/>
              </a:rPr>
              <a:t>Universidad Federal de </a:t>
            </a:r>
            <a:r>
              <a:rPr lang="pt-BR" altLang="es-ES_tradnl" sz="1400" dirty="0" err="1">
                <a:solidFill>
                  <a:schemeClr val="tx1"/>
                </a:solidFill>
                <a:latin typeface="+mn-lt"/>
                <a:cs typeface="Times New Roman" pitchFamily="18" charset="0"/>
              </a:rPr>
              <a:t>Río</a:t>
            </a:r>
            <a:r>
              <a:rPr lang="pt-BR" altLang="es-ES_tradnl" sz="1400" dirty="0">
                <a:solidFill>
                  <a:schemeClr val="tx1"/>
                </a:solidFill>
                <a:latin typeface="+mn-lt"/>
                <a:cs typeface="Times New Roman" pitchFamily="18" charset="0"/>
              </a:rPr>
              <a:t> Grande do Sul</a:t>
            </a:r>
          </a:p>
          <a:p>
            <a:pPr algn="ctr" eaLnBrk="1" hangingPunct="1">
              <a:spcBef>
                <a:spcPct val="50000"/>
              </a:spcBef>
              <a:defRPr/>
            </a:pPr>
            <a:r>
              <a:rPr lang="pt-BR" altLang="es-ES_tradnl" sz="1400" dirty="0">
                <a:solidFill>
                  <a:schemeClr val="tx1"/>
                </a:solidFill>
                <a:latin typeface="+mn-lt"/>
                <a:cs typeface="Times New Roman" pitchFamily="18" charset="0"/>
              </a:rPr>
              <a:t>Porto Alegre</a:t>
            </a:r>
          </a:p>
        </p:txBody>
      </p:sp>
      <p:sp>
        <p:nvSpPr>
          <p:cNvPr id="34822" name="Line 12"/>
          <p:cNvSpPr>
            <a:spLocks noChangeShapeType="1"/>
          </p:cNvSpPr>
          <p:nvPr/>
        </p:nvSpPr>
        <p:spPr bwMode="auto">
          <a:xfrm flipV="1">
            <a:off x="3094038" y="4605338"/>
            <a:ext cx="2244725" cy="269875"/>
          </a:xfrm>
          <a:prstGeom prst="line">
            <a:avLst/>
          </a:prstGeom>
          <a:noFill/>
          <a:ln w="12700">
            <a:solidFill>
              <a:schemeClr val="tx1"/>
            </a:solidFill>
            <a:round/>
            <a:headEnd type="triangle" w="med" len="med"/>
            <a:tailEnd/>
          </a:ln>
          <a:extLst/>
        </p:spPr>
        <p:txBody>
          <a:bodyPr wrap="none"/>
          <a:lstStyle/>
          <a:p>
            <a:pPr>
              <a:defRPr/>
            </a:pPr>
            <a:endParaRPr lang="es-AR" sz="1800">
              <a:latin typeface="+mn-lt"/>
              <a:cs typeface="Arial" charset="0"/>
            </a:endParaRPr>
          </a:p>
        </p:txBody>
      </p:sp>
      <p:sp>
        <p:nvSpPr>
          <p:cNvPr id="34823" name="Line 14"/>
          <p:cNvSpPr>
            <a:spLocks noChangeShapeType="1"/>
          </p:cNvSpPr>
          <p:nvPr/>
        </p:nvSpPr>
        <p:spPr bwMode="auto">
          <a:xfrm flipV="1">
            <a:off x="5538788" y="4327525"/>
            <a:ext cx="2343150" cy="93663"/>
          </a:xfrm>
          <a:prstGeom prst="line">
            <a:avLst/>
          </a:prstGeom>
          <a:noFill/>
          <a:ln w="12700">
            <a:solidFill>
              <a:schemeClr val="tx1"/>
            </a:solidFill>
            <a:round/>
            <a:headEnd/>
            <a:tailEnd type="triangle" w="med" len="med"/>
          </a:ln>
          <a:extLst/>
        </p:spPr>
        <p:txBody>
          <a:bodyPr wrap="none"/>
          <a:lstStyle/>
          <a:p>
            <a:pPr>
              <a:defRPr/>
            </a:pPr>
            <a:endParaRPr lang="es-AR" sz="1800">
              <a:latin typeface="+mn-lt"/>
              <a:cs typeface="Arial" charset="0"/>
            </a:endParaRPr>
          </a:p>
        </p:txBody>
      </p:sp>
      <p:sp>
        <p:nvSpPr>
          <p:cNvPr id="34824" name="Line 15"/>
          <p:cNvSpPr>
            <a:spLocks noChangeShapeType="1"/>
          </p:cNvSpPr>
          <p:nvPr/>
        </p:nvSpPr>
        <p:spPr bwMode="auto">
          <a:xfrm>
            <a:off x="5292725" y="4745038"/>
            <a:ext cx="2000250" cy="546100"/>
          </a:xfrm>
          <a:prstGeom prst="line">
            <a:avLst/>
          </a:prstGeom>
          <a:noFill/>
          <a:ln w="12700">
            <a:solidFill>
              <a:schemeClr val="tx1"/>
            </a:solidFill>
            <a:round/>
            <a:headEnd/>
            <a:tailEnd type="triangle" w="med" len="med"/>
          </a:ln>
          <a:extLst/>
        </p:spPr>
        <p:txBody>
          <a:bodyPr wrap="none"/>
          <a:lstStyle/>
          <a:p>
            <a:pPr>
              <a:defRPr/>
            </a:pPr>
            <a:endParaRPr lang="es-AR" sz="1800">
              <a:latin typeface="+mn-lt"/>
              <a:cs typeface="Arial" charset="0"/>
            </a:endParaRPr>
          </a:p>
        </p:txBody>
      </p:sp>
      <p:sp>
        <p:nvSpPr>
          <p:cNvPr id="34825" name="Text Box 18"/>
          <p:cNvSpPr txBox="1">
            <a:spLocks noChangeArrowheads="1"/>
          </p:cNvSpPr>
          <p:nvPr/>
        </p:nvSpPr>
        <p:spPr bwMode="auto">
          <a:xfrm rot="10800000" flipV="1">
            <a:off x="7908925" y="4133850"/>
            <a:ext cx="1517650"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_tradnl" altLang="es-ES_tradnl" sz="1400" dirty="0">
                <a:solidFill>
                  <a:schemeClr val="tx1"/>
                </a:solidFill>
                <a:latin typeface="+mn-lt"/>
                <a:cs typeface="Times New Roman" pitchFamily="18" charset="0"/>
              </a:rPr>
              <a:t>Universidad de  San Pablo</a:t>
            </a:r>
          </a:p>
        </p:txBody>
      </p:sp>
      <p:sp>
        <p:nvSpPr>
          <p:cNvPr id="34826" name="Text Box 15"/>
          <p:cNvSpPr txBox="1">
            <a:spLocks noChangeArrowheads="1"/>
          </p:cNvSpPr>
          <p:nvPr/>
        </p:nvSpPr>
        <p:spPr bwMode="auto">
          <a:xfrm>
            <a:off x="7286625" y="5189538"/>
            <a:ext cx="2136775"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_tradnl" altLang="es-ES_tradnl" sz="1400">
                <a:solidFill>
                  <a:schemeClr val="tx1"/>
                </a:solidFill>
                <a:latin typeface="+mn-lt"/>
                <a:cs typeface="Times New Roman" pitchFamily="18" charset="0"/>
              </a:rPr>
              <a:t>Universidad Federal de Paraná</a:t>
            </a:r>
            <a:r>
              <a:rPr lang="pt-BR" altLang="es-ES_tradnl" sz="1400">
                <a:solidFill>
                  <a:schemeClr val="tx1"/>
                </a:solidFill>
                <a:latin typeface="+mn-lt"/>
                <a:cs typeface="Times New Roman" pitchFamily="18" charset="0"/>
              </a:rPr>
              <a:t>– Curitiba – Paraná</a:t>
            </a:r>
            <a:endParaRPr lang="es-ES_tradnl" altLang="es-ES_tradnl" sz="1400">
              <a:solidFill>
                <a:schemeClr val="tx1"/>
              </a:solidFill>
              <a:latin typeface="+mn-lt"/>
              <a:cs typeface="Times New Roman" pitchFamily="18" charset="0"/>
            </a:endParaRPr>
          </a:p>
        </p:txBody>
      </p:sp>
      <p:sp>
        <p:nvSpPr>
          <p:cNvPr id="34827" name="Text Box 16"/>
          <p:cNvSpPr txBox="1">
            <a:spLocks noChangeArrowheads="1"/>
          </p:cNvSpPr>
          <p:nvPr/>
        </p:nvSpPr>
        <p:spPr bwMode="auto">
          <a:xfrm>
            <a:off x="7856538" y="3282950"/>
            <a:ext cx="1754187" cy="738188"/>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_tradnl" altLang="es-ES_tradnl" sz="1400" dirty="0">
                <a:solidFill>
                  <a:schemeClr val="tx1"/>
                </a:solidFill>
                <a:latin typeface="+mn-lt"/>
                <a:cs typeface="Times New Roman" pitchFamily="18" charset="0"/>
              </a:rPr>
              <a:t>Instituto Cultural Brasil Argentina - Río de Janeiro </a:t>
            </a:r>
          </a:p>
        </p:txBody>
      </p:sp>
      <p:sp>
        <p:nvSpPr>
          <p:cNvPr id="34828" name="Line 6"/>
          <p:cNvSpPr>
            <a:spLocks noChangeShapeType="1"/>
          </p:cNvSpPr>
          <p:nvPr/>
        </p:nvSpPr>
        <p:spPr bwMode="auto">
          <a:xfrm>
            <a:off x="2841625" y="3979863"/>
            <a:ext cx="2451100" cy="520700"/>
          </a:xfrm>
          <a:prstGeom prst="line">
            <a:avLst/>
          </a:prstGeom>
          <a:noFill/>
          <a:ln w="12700">
            <a:solidFill>
              <a:schemeClr val="tx1"/>
            </a:solidFill>
            <a:round/>
            <a:headEnd type="triangle" w="med" len="med"/>
            <a:tailEnd/>
          </a:ln>
          <a:extLst/>
        </p:spPr>
        <p:txBody>
          <a:bodyPr wrap="none"/>
          <a:lstStyle/>
          <a:p>
            <a:pPr>
              <a:defRPr/>
            </a:pPr>
            <a:endParaRPr lang="es-AR" sz="1800">
              <a:latin typeface="+mn-lt"/>
              <a:cs typeface="Arial" charset="0"/>
            </a:endParaRPr>
          </a:p>
        </p:txBody>
      </p:sp>
      <p:sp>
        <p:nvSpPr>
          <p:cNvPr id="34829" name="Line 6"/>
          <p:cNvSpPr>
            <a:spLocks noChangeShapeType="1"/>
          </p:cNvSpPr>
          <p:nvPr/>
        </p:nvSpPr>
        <p:spPr bwMode="auto">
          <a:xfrm>
            <a:off x="5930900" y="2108200"/>
            <a:ext cx="277813" cy="1143000"/>
          </a:xfrm>
          <a:prstGeom prst="line">
            <a:avLst/>
          </a:prstGeom>
          <a:noFill/>
          <a:ln w="12700">
            <a:solidFill>
              <a:schemeClr val="tx1"/>
            </a:solidFill>
            <a:round/>
            <a:headEnd type="triangle" w="med" len="med"/>
            <a:tailEnd/>
          </a:ln>
          <a:extLst/>
        </p:spPr>
        <p:txBody>
          <a:bodyPr wrap="none"/>
          <a:lstStyle/>
          <a:p>
            <a:pPr>
              <a:defRPr/>
            </a:pPr>
            <a:endParaRPr lang="es-AR" sz="1800">
              <a:latin typeface="+mn-lt"/>
              <a:cs typeface="Arial" charset="0"/>
            </a:endParaRPr>
          </a:p>
        </p:txBody>
      </p:sp>
      <p:sp>
        <p:nvSpPr>
          <p:cNvPr id="34830" name="Text Box 18"/>
          <p:cNvSpPr txBox="1">
            <a:spLocks noChangeArrowheads="1"/>
          </p:cNvSpPr>
          <p:nvPr/>
        </p:nvSpPr>
        <p:spPr bwMode="auto">
          <a:xfrm>
            <a:off x="5064125" y="1354138"/>
            <a:ext cx="1797050"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_tradnl" altLang="es-ES_tradnl" sz="1400">
                <a:solidFill>
                  <a:schemeClr val="tx1"/>
                </a:solidFill>
                <a:latin typeface="+mn-lt"/>
                <a:cs typeface="Times New Roman" pitchFamily="18" charset="0"/>
              </a:rPr>
              <a:t>Universidad Federal de Salvador de Bahía</a:t>
            </a:r>
          </a:p>
        </p:txBody>
      </p:sp>
      <p:sp>
        <p:nvSpPr>
          <p:cNvPr id="34831" name="Line 14"/>
          <p:cNvSpPr>
            <a:spLocks noChangeShapeType="1"/>
          </p:cNvSpPr>
          <p:nvPr/>
        </p:nvSpPr>
        <p:spPr bwMode="auto">
          <a:xfrm flipV="1">
            <a:off x="5930900" y="3657600"/>
            <a:ext cx="1835150" cy="582613"/>
          </a:xfrm>
          <a:prstGeom prst="line">
            <a:avLst/>
          </a:prstGeom>
          <a:noFill/>
          <a:ln w="12700">
            <a:solidFill>
              <a:schemeClr val="tx1"/>
            </a:solidFill>
            <a:round/>
            <a:headEnd/>
            <a:tailEnd type="triangle" w="med" len="med"/>
          </a:ln>
          <a:extLst/>
        </p:spPr>
        <p:txBody>
          <a:bodyPr wrap="none"/>
          <a:lstStyle/>
          <a:p>
            <a:pPr>
              <a:defRPr/>
            </a:pPr>
            <a:endParaRPr lang="es-AR" sz="1800">
              <a:latin typeface="+mn-lt"/>
              <a:cs typeface="Arial" charset="0"/>
            </a:endParaRPr>
          </a:p>
        </p:txBody>
      </p:sp>
      <p:sp>
        <p:nvSpPr>
          <p:cNvPr id="34832" name="Line 15"/>
          <p:cNvSpPr>
            <a:spLocks noChangeShapeType="1"/>
          </p:cNvSpPr>
          <p:nvPr/>
        </p:nvSpPr>
        <p:spPr bwMode="auto">
          <a:xfrm>
            <a:off x="5153025" y="4810125"/>
            <a:ext cx="1276350" cy="1136650"/>
          </a:xfrm>
          <a:prstGeom prst="line">
            <a:avLst/>
          </a:prstGeom>
          <a:noFill/>
          <a:ln w="12700">
            <a:solidFill>
              <a:schemeClr val="tx1"/>
            </a:solidFill>
            <a:round/>
            <a:headEnd/>
            <a:tailEnd type="triangle" w="med" len="med"/>
          </a:ln>
          <a:extLst/>
        </p:spPr>
        <p:txBody>
          <a:bodyPr wrap="none"/>
          <a:lstStyle/>
          <a:p>
            <a:pPr>
              <a:defRPr/>
            </a:pPr>
            <a:endParaRPr lang="es-AR" sz="1800">
              <a:latin typeface="+mn-lt"/>
              <a:cs typeface="Arial" charset="0"/>
            </a:endParaRPr>
          </a:p>
        </p:txBody>
      </p:sp>
      <p:sp>
        <p:nvSpPr>
          <p:cNvPr id="34833" name="Text Box 15"/>
          <p:cNvSpPr txBox="1">
            <a:spLocks noChangeArrowheads="1"/>
          </p:cNvSpPr>
          <p:nvPr/>
        </p:nvSpPr>
        <p:spPr bwMode="auto">
          <a:xfrm>
            <a:off x="5616575" y="5989638"/>
            <a:ext cx="2136775" cy="738187"/>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_tradnl" altLang="es-ES_tradnl" sz="1400">
                <a:solidFill>
                  <a:schemeClr val="tx1"/>
                </a:solidFill>
                <a:latin typeface="+mn-lt"/>
                <a:cs typeface="Times New Roman" pitchFamily="18" charset="0"/>
              </a:rPr>
              <a:t>Universidad Federal de Pampa </a:t>
            </a:r>
            <a:r>
              <a:rPr lang="pt-BR" altLang="es-ES_tradnl" sz="1400">
                <a:solidFill>
                  <a:schemeClr val="tx1"/>
                </a:solidFill>
                <a:latin typeface="+mn-lt"/>
                <a:cs typeface="Times New Roman" pitchFamily="18" charset="0"/>
              </a:rPr>
              <a:t>– Bagé – Rio Grande do Sul </a:t>
            </a:r>
            <a:endParaRPr lang="es-ES_tradnl" altLang="es-ES_tradnl" sz="1400">
              <a:solidFill>
                <a:schemeClr val="tx1"/>
              </a:solidFill>
              <a:latin typeface="+mn-lt"/>
              <a:cs typeface="Times New Roman" pitchFamily="18" charset="0"/>
            </a:endParaRPr>
          </a:p>
        </p:txBody>
      </p:sp>
      <p:sp>
        <p:nvSpPr>
          <p:cNvPr id="34835" name="Line 14"/>
          <p:cNvSpPr>
            <a:spLocks noChangeShapeType="1"/>
          </p:cNvSpPr>
          <p:nvPr/>
        </p:nvSpPr>
        <p:spPr bwMode="auto">
          <a:xfrm flipV="1">
            <a:off x="5724525" y="2317750"/>
            <a:ext cx="1744663" cy="1677988"/>
          </a:xfrm>
          <a:prstGeom prst="line">
            <a:avLst/>
          </a:prstGeom>
          <a:noFill/>
          <a:ln w="12700">
            <a:solidFill>
              <a:schemeClr val="tx1"/>
            </a:solidFill>
            <a:round/>
            <a:headEnd/>
            <a:tailEnd type="triangle" w="med" len="med"/>
          </a:ln>
          <a:extLst/>
        </p:spPr>
        <p:txBody>
          <a:bodyPr wrap="none"/>
          <a:lstStyle/>
          <a:p>
            <a:pPr>
              <a:defRPr/>
            </a:pPr>
            <a:endParaRPr lang="es-AR" sz="1800">
              <a:latin typeface="+mn-lt"/>
              <a:cs typeface="Arial" charset="0"/>
            </a:endParaRPr>
          </a:p>
        </p:txBody>
      </p:sp>
      <p:sp>
        <p:nvSpPr>
          <p:cNvPr id="34836" name="Text Box 16"/>
          <p:cNvSpPr txBox="1">
            <a:spLocks noChangeArrowheads="1"/>
          </p:cNvSpPr>
          <p:nvPr/>
        </p:nvSpPr>
        <p:spPr bwMode="auto">
          <a:xfrm>
            <a:off x="7327900" y="1993900"/>
            <a:ext cx="2009775"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_tradnl" altLang="es-ES_tradnl" sz="1400" dirty="0">
                <a:solidFill>
                  <a:schemeClr val="tx1"/>
                </a:solidFill>
                <a:latin typeface="+mn-lt"/>
                <a:cs typeface="Times New Roman" pitchFamily="18" charset="0"/>
              </a:rPr>
              <a:t>CEFET MG Minas Gerais Belo Horizonte</a:t>
            </a:r>
          </a:p>
        </p:txBody>
      </p:sp>
      <p:sp>
        <p:nvSpPr>
          <p:cNvPr id="33812"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C2B0CA30-018C-48C7-9059-4DB1F49C6643}" type="slidenum">
              <a:rPr lang="es-ES_tradnl" altLang="es-AR" sz="1000" i="1">
                <a:solidFill>
                  <a:srgbClr val="000000"/>
                </a:solidFill>
                <a:latin typeface="Verdana" panose="020B0604030504040204" pitchFamily="34" charset="0"/>
              </a:rPr>
              <a:pPr algn="r" eaLnBrk="1" hangingPunct="1">
                <a:spcBef>
                  <a:spcPct val="0"/>
                </a:spcBef>
                <a:buFontTx/>
                <a:buNone/>
              </a:pPr>
              <a:t>31</a:t>
            </a:fld>
            <a:endParaRPr lang="es-ES_tradnl" altLang="es-AR" sz="1000" i="1">
              <a:solidFill>
                <a:srgbClr val="000000"/>
              </a:solidFill>
              <a:latin typeface="Verdana" panose="020B0604030504040204" pitchFamily="34" charset="0"/>
            </a:endParaRPr>
          </a:p>
        </p:txBody>
      </p:sp>
      <p:sp>
        <p:nvSpPr>
          <p:cNvPr id="21" name="Text Box 16"/>
          <p:cNvSpPr txBox="1">
            <a:spLocks noChangeArrowheads="1"/>
          </p:cNvSpPr>
          <p:nvPr/>
        </p:nvSpPr>
        <p:spPr bwMode="auto">
          <a:xfrm>
            <a:off x="7597775" y="2652713"/>
            <a:ext cx="1970088" cy="63182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_tradnl" altLang="es-ES_tradnl" sz="1400" dirty="0">
                <a:solidFill>
                  <a:schemeClr val="tx1"/>
                </a:solidFill>
                <a:latin typeface="+mn-lt"/>
                <a:cs typeface="Times New Roman" pitchFamily="18" charset="0"/>
              </a:rPr>
              <a:t>Instituto LH Idiomas</a:t>
            </a:r>
          </a:p>
          <a:p>
            <a:pPr algn="ctr" eaLnBrk="1" hangingPunct="1">
              <a:spcBef>
                <a:spcPct val="50000"/>
              </a:spcBef>
              <a:defRPr/>
            </a:pPr>
            <a:r>
              <a:rPr lang="es-ES_tradnl" altLang="es-ES_tradnl" sz="1400" dirty="0" err="1">
                <a:solidFill>
                  <a:schemeClr val="tx1"/>
                </a:solidFill>
                <a:latin typeface="+mn-lt"/>
                <a:cs typeface="Times New Roman" pitchFamily="18" charset="0"/>
              </a:rPr>
              <a:t>Alfenas</a:t>
            </a:r>
            <a:r>
              <a:rPr lang="es-ES_tradnl" altLang="es-ES_tradnl" sz="1400" dirty="0">
                <a:solidFill>
                  <a:schemeClr val="tx1"/>
                </a:solidFill>
                <a:latin typeface="+mn-lt"/>
                <a:cs typeface="Times New Roman" pitchFamily="18" charset="0"/>
              </a:rPr>
              <a:t>-Minas Gerais</a:t>
            </a:r>
          </a:p>
        </p:txBody>
      </p:sp>
      <p:sp>
        <p:nvSpPr>
          <p:cNvPr id="22" name="Line 14"/>
          <p:cNvSpPr>
            <a:spLocks noChangeShapeType="1"/>
          </p:cNvSpPr>
          <p:nvPr/>
        </p:nvSpPr>
        <p:spPr bwMode="auto">
          <a:xfrm flipV="1">
            <a:off x="5876925" y="3116263"/>
            <a:ext cx="1657350" cy="1031875"/>
          </a:xfrm>
          <a:prstGeom prst="line">
            <a:avLst/>
          </a:prstGeom>
          <a:noFill/>
          <a:ln w="12700">
            <a:solidFill>
              <a:schemeClr val="tx1"/>
            </a:solidFill>
            <a:round/>
            <a:headEnd/>
            <a:tailEnd type="triangle" w="med" len="med"/>
          </a:ln>
          <a:extLst/>
        </p:spPr>
        <p:txBody>
          <a:bodyPr wrap="none"/>
          <a:lstStyle/>
          <a:p>
            <a:pPr>
              <a:defRPr/>
            </a:pPr>
            <a:endParaRPr lang="es-AR" sz="1800">
              <a:latin typeface="+mn-lt"/>
              <a:cs typeface="Arial" charset="0"/>
            </a:endParaRPr>
          </a:p>
        </p:txBody>
      </p:sp>
    </p:spTree>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4"/>
          <p:cNvSpPr>
            <a:spLocks noGrp="1" noChangeArrowheads="1"/>
          </p:cNvSpPr>
          <p:nvPr>
            <p:ph type="title" idx="4294967295"/>
          </p:nvPr>
        </p:nvSpPr>
        <p:spPr>
          <a:xfrm>
            <a:off x="0" y="236538"/>
            <a:ext cx="8915400" cy="781050"/>
          </a:xfrm>
        </p:spPr>
        <p:txBody>
          <a:bodyPr/>
          <a:lstStyle/>
          <a:p>
            <a:pPr>
              <a:defRPr/>
            </a:pPr>
            <a:r>
              <a:rPr lang="es-AR" altLang="es-ES_tradnl" sz="4000" dirty="0">
                <a:solidFill>
                  <a:srgbClr val="000066"/>
                </a:solidFill>
                <a:latin typeface="+mj-lt"/>
              </a:rPr>
              <a:t>Sedes del CELU en Europa</a:t>
            </a:r>
            <a:endParaRPr lang="es-ES" altLang="es-ES_tradnl" sz="4000" dirty="0">
              <a:solidFill>
                <a:srgbClr val="000066"/>
              </a:solidFill>
              <a:latin typeface="+mj-lt"/>
            </a:endParaRPr>
          </a:p>
        </p:txBody>
      </p:sp>
      <p:sp>
        <p:nvSpPr>
          <p:cNvPr id="35862" name="Text Box 6"/>
          <p:cNvSpPr txBox="1">
            <a:spLocks noChangeArrowheads="1"/>
          </p:cNvSpPr>
          <p:nvPr/>
        </p:nvSpPr>
        <p:spPr bwMode="auto">
          <a:xfrm>
            <a:off x="4960938" y="6257925"/>
            <a:ext cx="1884362"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 altLang="es-ES_tradnl" sz="1400">
                <a:solidFill>
                  <a:schemeClr val="tx1"/>
                </a:solidFill>
                <a:latin typeface="+mn-lt"/>
                <a:cs typeface="Times New Roman" pitchFamily="18" charset="0"/>
              </a:rPr>
              <a:t>Instituto Velázquez en Palermo</a:t>
            </a:r>
          </a:p>
        </p:txBody>
      </p:sp>
      <p:sp>
        <p:nvSpPr>
          <p:cNvPr id="34820"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0B15BAEB-CCA6-45CD-8E65-A0944D4DEE8A}" type="slidenum">
              <a:rPr lang="es-ES_tradnl" altLang="es-AR" sz="1000" i="1">
                <a:solidFill>
                  <a:srgbClr val="000000"/>
                </a:solidFill>
                <a:latin typeface="Verdana" panose="020B0604030504040204" pitchFamily="34" charset="0"/>
              </a:rPr>
              <a:pPr algn="r" eaLnBrk="1" hangingPunct="1">
                <a:spcBef>
                  <a:spcPct val="0"/>
                </a:spcBef>
                <a:buFontTx/>
                <a:buNone/>
              </a:pPr>
              <a:t>32</a:t>
            </a:fld>
            <a:endParaRPr lang="es-ES_tradnl" altLang="es-AR" sz="1000" i="1">
              <a:solidFill>
                <a:srgbClr val="000000"/>
              </a:solidFill>
              <a:latin typeface="Verdana" panose="020B0604030504040204" pitchFamily="34" charset="0"/>
            </a:endParaRPr>
          </a:p>
        </p:txBody>
      </p:sp>
      <p:grpSp>
        <p:nvGrpSpPr>
          <p:cNvPr id="34821" name="6 Grupo"/>
          <p:cNvGrpSpPr>
            <a:grpSpLocks/>
          </p:cNvGrpSpPr>
          <p:nvPr/>
        </p:nvGrpSpPr>
        <p:grpSpPr bwMode="auto">
          <a:xfrm>
            <a:off x="30163" y="860425"/>
            <a:ext cx="9986962" cy="5808663"/>
            <a:chOff x="30163" y="860425"/>
            <a:chExt cx="9986962" cy="5808663"/>
          </a:xfrm>
        </p:grpSpPr>
        <p:sp>
          <p:nvSpPr>
            <p:cNvPr id="35844" name="Text Box 4"/>
            <p:cNvSpPr txBox="1">
              <a:spLocks noChangeArrowheads="1"/>
            </p:cNvSpPr>
            <p:nvPr/>
          </p:nvSpPr>
          <p:spPr bwMode="auto">
            <a:xfrm>
              <a:off x="7448550" y="3536950"/>
              <a:ext cx="2352675" cy="738188"/>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AR" altLang="es-ES_tradnl" sz="1400">
                  <a:latin typeface="+mn-lt"/>
                </a:rPr>
                <a:t>Universidad Federal de Berlín/Embajada de Argentina en </a:t>
              </a:r>
              <a:r>
                <a:rPr lang="es-ES" altLang="es-ES_tradnl" sz="1400">
                  <a:solidFill>
                    <a:schemeClr val="tx1"/>
                  </a:solidFill>
                  <a:latin typeface="+mn-lt"/>
                  <a:cs typeface="Times New Roman" pitchFamily="18" charset="0"/>
                </a:rPr>
                <a:t>Berlín</a:t>
              </a:r>
            </a:p>
          </p:txBody>
        </p:sp>
        <p:sp>
          <p:nvSpPr>
            <p:cNvPr id="35849" name="Text Box 9"/>
            <p:cNvSpPr txBox="1">
              <a:spLocks noChangeArrowheads="1"/>
            </p:cNvSpPr>
            <p:nvPr/>
          </p:nvSpPr>
          <p:spPr bwMode="auto">
            <a:xfrm>
              <a:off x="7713663" y="3141663"/>
              <a:ext cx="2063750"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defRPr/>
              </a:pPr>
              <a:r>
                <a:rPr lang="es-ES_tradnl" altLang="es-ES_tradnl" sz="2800" b="1" dirty="0">
                  <a:solidFill>
                    <a:srgbClr val="000066"/>
                  </a:solidFill>
                  <a:latin typeface="+mn-lt"/>
                </a:rPr>
                <a:t>ALEMANIA</a:t>
              </a:r>
            </a:p>
          </p:txBody>
        </p:sp>
        <p:sp>
          <p:nvSpPr>
            <p:cNvPr id="35854" name="Text Box 4"/>
            <p:cNvSpPr txBox="1">
              <a:spLocks noChangeArrowheads="1"/>
            </p:cNvSpPr>
            <p:nvPr/>
          </p:nvSpPr>
          <p:spPr bwMode="auto">
            <a:xfrm>
              <a:off x="7699375" y="4897438"/>
              <a:ext cx="2063750" cy="3079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 altLang="es-ES_tradnl" sz="1400" dirty="0">
                  <a:solidFill>
                    <a:schemeClr val="tx1"/>
                  </a:solidFill>
                  <a:latin typeface="+mn-lt"/>
                  <a:cs typeface="Times New Roman" pitchFamily="18" charset="0"/>
                </a:rPr>
                <a:t>Universidad de Salzburgo</a:t>
              </a:r>
            </a:p>
          </p:txBody>
        </p:sp>
        <p:sp>
          <p:nvSpPr>
            <p:cNvPr id="35855" name="Text Box 9"/>
            <p:cNvSpPr txBox="1">
              <a:spLocks noChangeArrowheads="1"/>
            </p:cNvSpPr>
            <p:nvPr/>
          </p:nvSpPr>
          <p:spPr bwMode="auto">
            <a:xfrm>
              <a:off x="7953375" y="4519613"/>
              <a:ext cx="2063750"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defRPr/>
              </a:pPr>
              <a:r>
                <a:rPr lang="es-ES_tradnl" altLang="es-ES_tradnl" sz="2800" b="1" dirty="0">
                  <a:solidFill>
                    <a:srgbClr val="000066"/>
                  </a:solidFill>
                  <a:latin typeface="+mn-lt"/>
                </a:rPr>
                <a:t>AUSTRIA</a:t>
              </a:r>
            </a:p>
          </p:txBody>
        </p:sp>
        <p:sp>
          <p:nvSpPr>
            <p:cNvPr id="34826" name="Freeform 5"/>
            <p:cNvSpPr>
              <a:spLocks/>
            </p:cNvSpPr>
            <p:nvPr/>
          </p:nvSpPr>
          <p:spPr bwMode="auto">
            <a:xfrm>
              <a:off x="2652713" y="4741863"/>
              <a:ext cx="1474788" cy="1141413"/>
            </a:xfrm>
            <a:custGeom>
              <a:avLst/>
              <a:gdLst>
                <a:gd name="T0" fmla="*/ 2147483647 w 1205"/>
                <a:gd name="T1" fmla="*/ 2147483647 h 952"/>
                <a:gd name="T2" fmla="*/ 2147483647 w 1205"/>
                <a:gd name="T3" fmla="*/ 2147483647 h 952"/>
                <a:gd name="T4" fmla="*/ 2147483647 w 1205"/>
                <a:gd name="T5" fmla="*/ 2147483647 h 952"/>
                <a:gd name="T6" fmla="*/ 2147483647 w 1205"/>
                <a:gd name="T7" fmla="*/ 2147483647 h 952"/>
                <a:gd name="T8" fmla="*/ 2147483647 w 1205"/>
                <a:gd name="T9" fmla="*/ 2147483647 h 952"/>
                <a:gd name="T10" fmla="*/ 2147483647 w 1205"/>
                <a:gd name="T11" fmla="*/ 2147483647 h 952"/>
                <a:gd name="T12" fmla="*/ 2147483647 w 1205"/>
                <a:gd name="T13" fmla="*/ 2147483647 h 952"/>
                <a:gd name="T14" fmla="*/ 2147483647 w 1205"/>
                <a:gd name="T15" fmla="*/ 2147483647 h 952"/>
                <a:gd name="T16" fmla="*/ 2147483647 w 1205"/>
                <a:gd name="T17" fmla="*/ 2147483647 h 952"/>
                <a:gd name="T18" fmla="*/ 2147483647 w 1205"/>
                <a:gd name="T19" fmla="*/ 2147483647 h 952"/>
                <a:gd name="T20" fmla="*/ 2147483647 w 1205"/>
                <a:gd name="T21" fmla="*/ 2147483647 h 952"/>
                <a:gd name="T22" fmla="*/ 2147483647 w 1205"/>
                <a:gd name="T23" fmla="*/ 2147483647 h 952"/>
                <a:gd name="T24" fmla="*/ 2147483647 w 1205"/>
                <a:gd name="T25" fmla="*/ 0 h 952"/>
                <a:gd name="T26" fmla="*/ 2147483647 w 1205"/>
                <a:gd name="T27" fmla="*/ 2147483647 h 952"/>
                <a:gd name="T28" fmla="*/ 2147483647 w 1205"/>
                <a:gd name="T29" fmla="*/ 2147483647 h 952"/>
                <a:gd name="T30" fmla="*/ 2147483647 w 1205"/>
                <a:gd name="T31" fmla="*/ 2147483647 h 952"/>
                <a:gd name="T32" fmla="*/ 2147483647 w 1205"/>
                <a:gd name="T33" fmla="*/ 2147483647 h 952"/>
                <a:gd name="T34" fmla="*/ 2147483647 w 1205"/>
                <a:gd name="T35" fmla="*/ 2147483647 h 952"/>
                <a:gd name="T36" fmla="*/ 2147483647 w 1205"/>
                <a:gd name="T37" fmla="*/ 2147483647 h 952"/>
                <a:gd name="T38" fmla="*/ 2147483647 w 1205"/>
                <a:gd name="T39" fmla="*/ 2147483647 h 952"/>
                <a:gd name="T40" fmla="*/ 2147483647 w 1205"/>
                <a:gd name="T41" fmla="*/ 2147483647 h 952"/>
                <a:gd name="T42" fmla="*/ 2147483647 w 1205"/>
                <a:gd name="T43" fmla="*/ 2147483647 h 952"/>
                <a:gd name="T44" fmla="*/ 2147483647 w 1205"/>
                <a:gd name="T45" fmla="*/ 2147483647 h 952"/>
                <a:gd name="T46" fmla="*/ 2147483647 w 1205"/>
                <a:gd name="T47" fmla="*/ 2147483647 h 952"/>
                <a:gd name="T48" fmla="*/ 2147483647 w 1205"/>
                <a:gd name="T49" fmla="*/ 2147483647 h 952"/>
                <a:gd name="T50" fmla="*/ 2147483647 w 1205"/>
                <a:gd name="T51" fmla="*/ 2147483647 h 952"/>
                <a:gd name="T52" fmla="*/ 2147483647 w 1205"/>
                <a:gd name="T53" fmla="*/ 2147483647 h 952"/>
                <a:gd name="T54" fmla="*/ 2147483647 w 1205"/>
                <a:gd name="T55" fmla="*/ 2147483647 h 952"/>
                <a:gd name="T56" fmla="*/ 2147483647 w 1205"/>
                <a:gd name="T57" fmla="*/ 2147483647 h 952"/>
                <a:gd name="T58" fmla="*/ 2147483647 w 1205"/>
                <a:gd name="T59" fmla="*/ 2147483647 h 952"/>
                <a:gd name="T60" fmla="*/ 2147483647 w 1205"/>
                <a:gd name="T61" fmla="*/ 2147483647 h 952"/>
                <a:gd name="T62" fmla="*/ 2147483647 w 1205"/>
                <a:gd name="T63" fmla="*/ 2147483647 h 952"/>
                <a:gd name="T64" fmla="*/ 2147483647 w 1205"/>
                <a:gd name="T65" fmla="*/ 2147483647 h 952"/>
                <a:gd name="T66" fmla="*/ 2147483647 w 1205"/>
                <a:gd name="T67" fmla="*/ 2147483647 h 952"/>
                <a:gd name="T68" fmla="*/ 2147483647 w 1205"/>
                <a:gd name="T69" fmla="*/ 2147483647 h 952"/>
                <a:gd name="T70" fmla="*/ 2147483647 w 1205"/>
                <a:gd name="T71" fmla="*/ 2147483647 h 952"/>
                <a:gd name="T72" fmla="*/ 2147483647 w 1205"/>
                <a:gd name="T73" fmla="*/ 2147483647 h 952"/>
                <a:gd name="T74" fmla="*/ 2147483647 w 1205"/>
                <a:gd name="T75" fmla="*/ 2147483647 h 952"/>
                <a:gd name="T76" fmla="*/ 0 w 1205"/>
                <a:gd name="T77" fmla="*/ 2147483647 h 952"/>
                <a:gd name="T78" fmla="*/ 2147483647 w 1205"/>
                <a:gd name="T79" fmla="*/ 2147483647 h 952"/>
                <a:gd name="T80" fmla="*/ 2147483647 w 1205"/>
                <a:gd name="T81" fmla="*/ 2147483647 h 952"/>
                <a:gd name="T82" fmla="*/ 2147483647 w 1205"/>
                <a:gd name="T83" fmla="*/ 2147483647 h 952"/>
                <a:gd name="T84" fmla="*/ 2147483647 w 1205"/>
                <a:gd name="T85" fmla="*/ 2147483647 h 952"/>
                <a:gd name="T86" fmla="*/ 2147483647 w 1205"/>
                <a:gd name="T87" fmla="*/ 2147483647 h 952"/>
                <a:gd name="T88" fmla="*/ 2147483647 w 1205"/>
                <a:gd name="T89" fmla="*/ 2147483647 h 952"/>
                <a:gd name="T90" fmla="*/ 2147483647 w 1205"/>
                <a:gd name="T91" fmla="*/ 2147483647 h 952"/>
                <a:gd name="T92" fmla="*/ 2147483647 w 1205"/>
                <a:gd name="T93" fmla="*/ 2147483647 h 952"/>
                <a:gd name="T94" fmla="*/ 2147483647 w 1205"/>
                <a:gd name="T95" fmla="*/ 2147483647 h 952"/>
                <a:gd name="T96" fmla="*/ 2147483647 w 1205"/>
                <a:gd name="T97" fmla="*/ 2147483647 h 952"/>
                <a:gd name="T98" fmla="*/ 2147483647 w 1205"/>
                <a:gd name="T99" fmla="*/ 2147483647 h 952"/>
                <a:gd name="T100" fmla="*/ 2147483647 w 1205"/>
                <a:gd name="T101" fmla="*/ 2147483647 h 952"/>
                <a:gd name="T102" fmla="*/ 2147483647 w 1205"/>
                <a:gd name="T103" fmla="*/ 2147483647 h 952"/>
                <a:gd name="T104" fmla="*/ 2147483647 w 1205"/>
                <a:gd name="T105" fmla="*/ 2147483647 h 952"/>
                <a:gd name="T106" fmla="*/ 2147483647 w 1205"/>
                <a:gd name="T107" fmla="*/ 2147483647 h 952"/>
                <a:gd name="T108" fmla="*/ 2147483647 w 1205"/>
                <a:gd name="T109" fmla="*/ 2147483647 h 952"/>
                <a:gd name="T110" fmla="*/ 2147483647 w 1205"/>
                <a:gd name="T111" fmla="*/ 2147483647 h 952"/>
                <a:gd name="T112" fmla="*/ 2147483647 w 1205"/>
                <a:gd name="T113" fmla="*/ 2147483647 h 952"/>
                <a:gd name="T114" fmla="*/ 2147483647 w 1205"/>
                <a:gd name="T115" fmla="*/ 2147483647 h 9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05"/>
                <a:gd name="T175" fmla="*/ 0 h 952"/>
                <a:gd name="T176" fmla="*/ 1205 w 1205"/>
                <a:gd name="T177" fmla="*/ 952 h 95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05" h="952">
                  <a:moveTo>
                    <a:pt x="1180" y="352"/>
                  </a:moveTo>
                  <a:lnTo>
                    <a:pt x="1154" y="336"/>
                  </a:lnTo>
                  <a:lnTo>
                    <a:pt x="1095" y="320"/>
                  </a:lnTo>
                  <a:lnTo>
                    <a:pt x="1036" y="296"/>
                  </a:lnTo>
                  <a:lnTo>
                    <a:pt x="969" y="288"/>
                  </a:lnTo>
                  <a:lnTo>
                    <a:pt x="910" y="280"/>
                  </a:lnTo>
                  <a:lnTo>
                    <a:pt x="893" y="256"/>
                  </a:lnTo>
                  <a:lnTo>
                    <a:pt x="859" y="232"/>
                  </a:lnTo>
                  <a:lnTo>
                    <a:pt x="817" y="224"/>
                  </a:lnTo>
                  <a:lnTo>
                    <a:pt x="784" y="192"/>
                  </a:lnTo>
                  <a:lnTo>
                    <a:pt x="733" y="152"/>
                  </a:lnTo>
                  <a:lnTo>
                    <a:pt x="716" y="144"/>
                  </a:lnTo>
                  <a:lnTo>
                    <a:pt x="699" y="144"/>
                  </a:lnTo>
                  <a:lnTo>
                    <a:pt x="666" y="136"/>
                  </a:lnTo>
                  <a:lnTo>
                    <a:pt x="632" y="120"/>
                  </a:lnTo>
                  <a:lnTo>
                    <a:pt x="598" y="128"/>
                  </a:lnTo>
                  <a:lnTo>
                    <a:pt x="556" y="104"/>
                  </a:lnTo>
                  <a:lnTo>
                    <a:pt x="522" y="104"/>
                  </a:lnTo>
                  <a:lnTo>
                    <a:pt x="480" y="96"/>
                  </a:lnTo>
                  <a:lnTo>
                    <a:pt x="387" y="64"/>
                  </a:lnTo>
                  <a:lnTo>
                    <a:pt x="362" y="48"/>
                  </a:lnTo>
                  <a:lnTo>
                    <a:pt x="320" y="48"/>
                  </a:lnTo>
                  <a:lnTo>
                    <a:pt x="227" y="32"/>
                  </a:lnTo>
                  <a:lnTo>
                    <a:pt x="202" y="16"/>
                  </a:lnTo>
                  <a:lnTo>
                    <a:pt x="185" y="0"/>
                  </a:lnTo>
                  <a:lnTo>
                    <a:pt x="168" y="0"/>
                  </a:lnTo>
                  <a:lnTo>
                    <a:pt x="143" y="0"/>
                  </a:lnTo>
                  <a:lnTo>
                    <a:pt x="135" y="8"/>
                  </a:lnTo>
                  <a:lnTo>
                    <a:pt x="126" y="24"/>
                  </a:lnTo>
                  <a:lnTo>
                    <a:pt x="109" y="24"/>
                  </a:lnTo>
                  <a:lnTo>
                    <a:pt x="59" y="32"/>
                  </a:lnTo>
                  <a:lnTo>
                    <a:pt x="17" y="48"/>
                  </a:lnTo>
                  <a:lnTo>
                    <a:pt x="25" y="80"/>
                  </a:lnTo>
                  <a:lnTo>
                    <a:pt x="25" y="88"/>
                  </a:lnTo>
                  <a:lnTo>
                    <a:pt x="25" y="104"/>
                  </a:lnTo>
                  <a:lnTo>
                    <a:pt x="34" y="128"/>
                  </a:lnTo>
                  <a:lnTo>
                    <a:pt x="17" y="184"/>
                  </a:lnTo>
                  <a:lnTo>
                    <a:pt x="67" y="176"/>
                  </a:lnTo>
                  <a:lnTo>
                    <a:pt x="84" y="184"/>
                  </a:lnTo>
                  <a:lnTo>
                    <a:pt x="84" y="200"/>
                  </a:lnTo>
                  <a:lnTo>
                    <a:pt x="76" y="208"/>
                  </a:lnTo>
                  <a:lnTo>
                    <a:pt x="93" y="216"/>
                  </a:lnTo>
                  <a:lnTo>
                    <a:pt x="126" y="216"/>
                  </a:lnTo>
                  <a:lnTo>
                    <a:pt x="143" y="232"/>
                  </a:lnTo>
                  <a:lnTo>
                    <a:pt x="168" y="232"/>
                  </a:lnTo>
                  <a:lnTo>
                    <a:pt x="194" y="224"/>
                  </a:lnTo>
                  <a:lnTo>
                    <a:pt x="227" y="240"/>
                  </a:lnTo>
                  <a:lnTo>
                    <a:pt x="236" y="256"/>
                  </a:lnTo>
                  <a:lnTo>
                    <a:pt x="236" y="264"/>
                  </a:lnTo>
                  <a:lnTo>
                    <a:pt x="253" y="272"/>
                  </a:lnTo>
                  <a:lnTo>
                    <a:pt x="261" y="288"/>
                  </a:lnTo>
                  <a:lnTo>
                    <a:pt x="261" y="296"/>
                  </a:lnTo>
                  <a:lnTo>
                    <a:pt x="227" y="312"/>
                  </a:lnTo>
                  <a:lnTo>
                    <a:pt x="202" y="328"/>
                  </a:lnTo>
                  <a:lnTo>
                    <a:pt x="168" y="344"/>
                  </a:lnTo>
                  <a:lnTo>
                    <a:pt x="177" y="368"/>
                  </a:lnTo>
                  <a:lnTo>
                    <a:pt x="160" y="400"/>
                  </a:lnTo>
                  <a:lnTo>
                    <a:pt x="160" y="424"/>
                  </a:lnTo>
                  <a:lnTo>
                    <a:pt x="152" y="432"/>
                  </a:lnTo>
                  <a:lnTo>
                    <a:pt x="143" y="432"/>
                  </a:lnTo>
                  <a:lnTo>
                    <a:pt x="143" y="464"/>
                  </a:lnTo>
                  <a:lnTo>
                    <a:pt x="126" y="480"/>
                  </a:lnTo>
                  <a:lnTo>
                    <a:pt x="101" y="488"/>
                  </a:lnTo>
                  <a:lnTo>
                    <a:pt x="76" y="488"/>
                  </a:lnTo>
                  <a:lnTo>
                    <a:pt x="93" y="552"/>
                  </a:lnTo>
                  <a:lnTo>
                    <a:pt x="109" y="568"/>
                  </a:lnTo>
                  <a:lnTo>
                    <a:pt x="109" y="576"/>
                  </a:lnTo>
                  <a:lnTo>
                    <a:pt x="101" y="584"/>
                  </a:lnTo>
                  <a:lnTo>
                    <a:pt x="76" y="592"/>
                  </a:lnTo>
                  <a:lnTo>
                    <a:pt x="67" y="608"/>
                  </a:lnTo>
                  <a:lnTo>
                    <a:pt x="59" y="632"/>
                  </a:lnTo>
                  <a:lnTo>
                    <a:pt x="67" y="656"/>
                  </a:lnTo>
                  <a:lnTo>
                    <a:pt x="76" y="672"/>
                  </a:lnTo>
                  <a:lnTo>
                    <a:pt x="84" y="672"/>
                  </a:lnTo>
                  <a:lnTo>
                    <a:pt x="59" y="696"/>
                  </a:lnTo>
                  <a:lnTo>
                    <a:pt x="17" y="720"/>
                  </a:lnTo>
                  <a:lnTo>
                    <a:pt x="8" y="752"/>
                  </a:lnTo>
                  <a:lnTo>
                    <a:pt x="0" y="784"/>
                  </a:lnTo>
                  <a:lnTo>
                    <a:pt x="17" y="784"/>
                  </a:lnTo>
                  <a:lnTo>
                    <a:pt x="59" y="792"/>
                  </a:lnTo>
                  <a:lnTo>
                    <a:pt x="93" y="816"/>
                  </a:lnTo>
                  <a:lnTo>
                    <a:pt x="109" y="840"/>
                  </a:lnTo>
                  <a:lnTo>
                    <a:pt x="109" y="880"/>
                  </a:lnTo>
                  <a:lnTo>
                    <a:pt x="118" y="920"/>
                  </a:lnTo>
                  <a:lnTo>
                    <a:pt x="152" y="952"/>
                  </a:lnTo>
                  <a:lnTo>
                    <a:pt x="219" y="928"/>
                  </a:lnTo>
                  <a:lnTo>
                    <a:pt x="253" y="920"/>
                  </a:lnTo>
                  <a:lnTo>
                    <a:pt x="295" y="912"/>
                  </a:lnTo>
                  <a:lnTo>
                    <a:pt x="337" y="896"/>
                  </a:lnTo>
                  <a:lnTo>
                    <a:pt x="379" y="904"/>
                  </a:lnTo>
                  <a:lnTo>
                    <a:pt x="463" y="920"/>
                  </a:lnTo>
                  <a:lnTo>
                    <a:pt x="539" y="928"/>
                  </a:lnTo>
                  <a:lnTo>
                    <a:pt x="573" y="928"/>
                  </a:lnTo>
                  <a:lnTo>
                    <a:pt x="598" y="904"/>
                  </a:lnTo>
                  <a:lnTo>
                    <a:pt x="615" y="872"/>
                  </a:lnTo>
                  <a:lnTo>
                    <a:pt x="649" y="856"/>
                  </a:lnTo>
                  <a:lnTo>
                    <a:pt x="733" y="848"/>
                  </a:lnTo>
                  <a:lnTo>
                    <a:pt x="725" y="824"/>
                  </a:lnTo>
                  <a:lnTo>
                    <a:pt x="733" y="800"/>
                  </a:lnTo>
                  <a:lnTo>
                    <a:pt x="784" y="752"/>
                  </a:lnTo>
                  <a:lnTo>
                    <a:pt x="842" y="720"/>
                  </a:lnTo>
                  <a:lnTo>
                    <a:pt x="809" y="664"/>
                  </a:lnTo>
                  <a:lnTo>
                    <a:pt x="809" y="624"/>
                  </a:lnTo>
                  <a:lnTo>
                    <a:pt x="842" y="592"/>
                  </a:lnTo>
                  <a:lnTo>
                    <a:pt x="885" y="536"/>
                  </a:lnTo>
                  <a:lnTo>
                    <a:pt x="927" y="504"/>
                  </a:lnTo>
                  <a:lnTo>
                    <a:pt x="935" y="504"/>
                  </a:lnTo>
                  <a:lnTo>
                    <a:pt x="944" y="472"/>
                  </a:lnTo>
                  <a:lnTo>
                    <a:pt x="977" y="448"/>
                  </a:lnTo>
                  <a:lnTo>
                    <a:pt x="1019" y="440"/>
                  </a:lnTo>
                  <a:lnTo>
                    <a:pt x="1095" y="432"/>
                  </a:lnTo>
                  <a:lnTo>
                    <a:pt x="1196" y="376"/>
                  </a:lnTo>
                  <a:lnTo>
                    <a:pt x="1205" y="376"/>
                  </a:lnTo>
                  <a:lnTo>
                    <a:pt x="1205" y="368"/>
                  </a:lnTo>
                  <a:lnTo>
                    <a:pt x="1205" y="344"/>
                  </a:lnTo>
                  <a:lnTo>
                    <a:pt x="1180" y="35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27" name="Freeform 6"/>
            <p:cNvSpPr>
              <a:spLocks/>
            </p:cNvSpPr>
            <p:nvPr/>
          </p:nvSpPr>
          <p:spPr bwMode="auto">
            <a:xfrm>
              <a:off x="2457450" y="4953000"/>
              <a:ext cx="514350" cy="738188"/>
            </a:xfrm>
            <a:custGeom>
              <a:avLst/>
              <a:gdLst>
                <a:gd name="T0" fmla="*/ 2147483647 w 421"/>
                <a:gd name="T1" fmla="*/ 2147483647 h 616"/>
                <a:gd name="T2" fmla="*/ 2147483647 w 421"/>
                <a:gd name="T3" fmla="*/ 2147483647 h 616"/>
                <a:gd name="T4" fmla="*/ 2147483647 w 421"/>
                <a:gd name="T5" fmla="*/ 2147483647 h 616"/>
                <a:gd name="T6" fmla="*/ 2147483647 w 421"/>
                <a:gd name="T7" fmla="*/ 2147483647 h 616"/>
                <a:gd name="T8" fmla="*/ 2147483647 w 421"/>
                <a:gd name="T9" fmla="*/ 2147483647 h 616"/>
                <a:gd name="T10" fmla="*/ 2147483647 w 421"/>
                <a:gd name="T11" fmla="*/ 2147483647 h 616"/>
                <a:gd name="T12" fmla="*/ 2147483647 w 421"/>
                <a:gd name="T13" fmla="*/ 2147483647 h 616"/>
                <a:gd name="T14" fmla="*/ 2147483647 w 421"/>
                <a:gd name="T15" fmla="*/ 2147483647 h 616"/>
                <a:gd name="T16" fmla="*/ 2147483647 w 421"/>
                <a:gd name="T17" fmla="*/ 2147483647 h 616"/>
                <a:gd name="T18" fmla="*/ 2147483647 w 421"/>
                <a:gd name="T19" fmla="*/ 2147483647 h 616"/>
                <a:gd name="T20" fmla="*/ 2147483647 w 421"/>
                <a:gd name="T21" fmla="*/ 2147483647 h 616"/>
                <a:gd name="T22" fmla="*/ 2147483647 w 421"/>
                <a:gd name="T23" fmla="*/ 2147483647 h 616"/>
                <a:gd name="T24" fmla="*/ 2147483647 w 421"/>
                <a:gd name="T25" fmla="*/ 2147483647 h 616"/>
                <a:gd name="T26" fmla="*/ 2147483647 w 421"/>
                <a:gd name="T27" fmla="*/ 2147483647 h 616"/>
                <a:gd name="T28" fmla="*/ 2147483647 w 421"/>
                <a:gd name="T29" fmla="*/ 2147483647 h 616"/>
                <a:gd name="T30" fmla="*/ 2147483647 w 421"/>
                <a:gd name="T31" fmla="*/ 2147483647 h 616"/>
                <a:gd name="T32" fmla="*/ 2147483647 w 421"/>
                <a:gd name="T33" fmla="*/ 2147483647 h 616"/>
                <a:gd name="T34" fmla="*/ 2147483647 w 421"/>
                <a:gd name="T35" fmla="*/ 2147483647 h 616"/>
                <a:gd name="T36" fmla="*/ 2147483647 w 421"/>
                <a:gd name="T37" fmla="*/ 2147483647 h 616"/>
                <a:gd name="T38" fmla="*/ 2147483647 w 421"/>
                <a:gd name="T39" fmla="*/ 2147483647 h 616"/>
                <a:gd name="T40" fmla="*/ 2147483647 w 421"/>
                <a:gd name="T41" fmla="*/ 2147483647 h 616"/>
                <a:gd name="T42" fmla="*/ 2147483647 w 421"/>
                <a:gd name="T43" fmla="*/ 2147483647 h 616"/>
                <a:gd name="T44" fmla="*/ 2147483647 w 421"/>
                <a:gd name="T45" fmla="*/ 2147483647 h 616"/>
                <a:gd name="T46" fmla="*/ 2147483647 w 421"/>
                <a:gd name="T47" fmla="*/ 2147483647 h 616"/>
                <a:gd name="T48" fmla="*/ 2147483647 w 421"/>
                <a:gd name="T49" fmla="*/ 2147483647 h 616"/>
                <a:gd name="T50" fmla="*/ 2147483647 w 421"/>
                <a:gd name="T51" fmla="*/ 2147483647 h 616"/>
                <a:gd name="T52" fmla="*/ 2147483647 w 421"/>
                <a:gd name="T53" fmla="*/ 2147483647 h 616"/>
                <a:gd name="T54" fmla="*/ 2147483647 w 421"/>
                <a:gd name="T55" fmla="*/ 2147483647 h 616"/>
                <a:gd name="T56" fmla="*/ 2147483647 w 421"/>
                <a:gd name="T57" fmla="*/ 2147483647 h 616"/>
                <a:gd name="T58" fmla="*/ 2147483647 w 421"/>
                <a:gd name="T59" fmla="*/ 2147483647 h 616"/>
                <a:gd name="T60" fmla="*/ 2147483647 w 421"/>
                <a:gd name="T61" fmla="*/ 2147483647 h 616"/>
                <a:gd name="T62" fmla="*/ 2147483647 w 421"/>
                <a:gd name="T63" fmla="*/ 2147483647 h 616"/>
                <a:gd name="T64" fmla="*/ 2147483647 w 421"/>
                <a:gd name="T65" fmla="*/ 2147483647 h 6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1"/>
                <a:gd name="T100" fmla="*/ 0 h 616"/>
                <a:gd name="T101" fmla="*/ 421 w 421"/>
                <a:gd name="T102" fmla="*/ 616 h 6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1" h="616">
                  <a:moveTo>
                    <a:pt x="413" y="96"/>
                  </a:moveTo>
                  <a:lnTo>
                    <a:pt x="396" y="88"/>
                  </a:lnTo>
                  <a:lnTo>
                    <a:pt x="396" y="80"/>
                  </a:lnTo>
                  <a:lnTo>
                    <a:pt x="387" y="64"/>
                  </a:lnTo>
                  <a:lnTo>
                    <a:pt x="354" y="48"/>
                  </a:lnTo>
                  <a:lnTo>
                    <a:pt x="328" y="56"/>
                  </a:lnTo>
                  <a:lnTo>
                    <a:pt x="303" y="56"/>
                  </a:lnTo>
                  <a:lnTo>
                    <a:pt x="286" y="40"/>
                  </a:lnTo>
                  <a:lnTo>
                    <a:pt x="253" y="40"/>
                  </a:lnTo>
                  <a:lnTo>
                    <a:pt x="236" y="32"/>
                  </a:lnTo>
                  <a:lnTo>
                    <a:pt x="244" y="24"/>
                  </a:lnTo>
                  <a:lnTo>
                    <a:pt x="244" y="8"/>
                  </a:lnTo>
                  <a:lnTo>
                    <a:pt x="227" y="0"/>
                  </a:lnTo>
                  <a:lnTo>
                    <a:pt x="177" y="8"/>
                  </a:lnTo>
                  <a:lnTo>
                    <a:pt x="177" y="40"/>
                  </a:lnTo>
                  <a:lnTo>
                    <a:pt x="160" y="112"/>
                  </a:lnTo>
                  <a:lnTo>
                    <a:pt x="143" y="144"/>
                  </a:lnTo>
                  <a:lnTo>
                    <a:pt x="126" y="208"/>
                  </a:lnTo>
                  <a:lnTo>
                    <a:pt x="92" y="256"/>
                  </a:lnTo>
                  <a:lnTo>
                    <a:pt x="42" y="304"/>
                  </a:lnTo>
                  <a:lnTo>
                    <a:pt x="17" y="352"/>
                  </a:lnTo>
                  <a:lnTo>
                    <a:pt x="8" y="368"/>
                  </a:lnTo>
                  <a:lnTo>
                    <a:pt x="17" y="376"/>
                  </a:lnTo>
                  <a:lnTo>
                    <a:pt x="34" y="384"/>
                  </a:lnTo>
                  <a:lnTo>
                    <a:pt x="25" y="400"/>
                  </a:lnTo>
                  <a:lnTo>
                    <a:pt x="25" y="408"/>
                  </a:lnTo>
                  <a:lnTo>
                    <a:pt x="34" y="416"/>
                  </a:lnTo>
                  <a:lnTo>
                    <a:pt x="67" y="416"/>
                  </a:lnTo>
                  <a:lnTo>
                    <a:pt x="42" y="480"/>
                  </a:lnTo>
                  <a:lnTo>
                    <a:pt x="42" y="512"/>
                  </a:lnTo>
                  <a:lnTo>
                    <a:pt x="25" y="544"/>
                  </a:lnTo>
                  <a:lnTo>
                    <a:pt x="8" y="576"/>
                  </a:lnTo>
                  <a:lnTo>
                    <a:pt x="0" y="592"/>
                  </a:lnTo>
                  <a:lnTo>
                    <a:pt x="8" y="592"/>
                  </a:lnTo>
                  <a:lnTo>
                    <a:pt x="50" y="592"/>
                  </a:lnTo>
                  <a:lnTo>
                    <a:pt x="84" y="600"/>
                  </a:lnTo>
                  <a:lnTo>
                    <a:pt x="126" y="616"/>
                  </a:lnTo>
                  <a:lnTo>
                    <a:pt x="160" y="608"/>
                  </a:lnTo>
                  <a:lnTo>
                    <a:pt x="168" y="576"/>
                  </a:lnTo>
                  <a:lnTo>
                    <a:pt x="177" y="544"/>
                  </a:lnTo>
                  <a:lnTo>
                    <a:pt x="219" y="520"/>
                  </a:lnTo>
                  <a:lnTo>
                    <a:pt x="244" y="496"/>
                  </a:lnTo>
                  <a:lnTo>
                    <a:pt x="236" y="496"/>
                  </a:lnTo>
                  <a:lnTo>
                    <a:pt x="227" y="480"/>
                  </a:lnTo>
                  <a:lnTo>
                    <a:pt x="219" y="456"/>
                  </a:lnTo>
                  <a:lnTo>
                    <a:pt x="227" y="432"/>
                  </a:lnTo>
                  <a:lnTo>
                    <a:pt x="236" y="416"/>
                  </a:lnTo>
                  <a:lnTo>
                    <a:pt x="261" y="408"/>
                  </a:lnTo>
                  <a:lnTo>
                    <a:pt x="269" y="400"/>
                  </a:lnTo>
                  <a:lnTo>
                    <a:pt x="269" y="392"/>
                  </a:lnTo>
                  <a:lnTo>
                    <a:pt x="253" y="376"/>
                  </a:lnTo>
                  <a:lnTo>
                    <a:pt x="236" y="312"/>
                  </a:lnTo>
                  <a:lnTo>
                    <a:pt x="261" y="312"/>
                  </a:lnTo>
                  <a:lnTo>
                    <a:pt x="286" y="304"/>
                  </a:lnTo>
                  <a:lnTo>
                    <a:pt x="303" y="288"/>
                  </a:lnTo>
                  <a:lnTo>
                    <a:pt x="303" y="256"/>
                  </a:lnTo>
                  <a:lnTo>
                    <a:pt x="312" y="256"/>
                  </a:lnTo>
                  <a:lnTo>
                    <a:pt x="320" y="248"/>
                  </a:lnTo>
                  <a:lnTo>
                    <a:pt x="320" y="224"/>
                  </a:lnTo>
                  <a:lnTo>
                    <a:pt x="337" y="192"/>
                  </a:lnTo>
                  <a:lnTo>
                    <a:pt x="328" y="168"/>
                  </a:lnTo>
                  <a:lnTo>
                    <a:pt x="362" y="152"/>
                  </a:lnTo>
                  <a:lnTo>
                    <a:pt x="387" y="136"/>
                  </a:lnTo>
                  <a:lnTo>
                    <a:pt x="421" y="120"/>
                  </a:lnTo>
                  <a:lnTo>
                    <a:pt x="421" y="112"/>
                  </a:lnTo>
                  <a:lnTo>
                    <a:pt x="413" y="96"/>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28" name="Freeform 7"/>
            <p:cNvSpPr>
              <a:spLocks/>
            </p:cNvSpPr>
            <p:nvPr/>
          </p:nvSpPr>
          <p:spPr bwMode="auto">
            <a:xfrm>
              <a:off x="2652713" y="4741863"/>
              <a:ext cx="1474788" cy="1141413"/>
            </a:xfrm>
            <a:custGeom>
              <a:avLst/>
              <a:gdLst>
                <a:gd name="T0" fmla="*/ 2147483647 w 1205"/>
                <a:gd name="T1" fmla="*/ 2147483647 h 952"/>
                <a:gd name="T2" fmla="*/ 2147483647 w 1205"/>
                <a:gd name="T3" fmla="*/ 2147483647 h 952"/>
                <a:gd name="T4" fmla="*/ 2147483647 w 1205"/>
                <a:gd name="T5" fmla="*/ 2147483647 h 952"/>
                <a:gd name="T6" fmla="*/ 2147483647 w 1205"/>
                <a:gd name="T7" fmla="*/ 2147483647 h 952"/>
                <a:gd name="T8" fmla="*/ 2147483647 w 1205"/>
                <a:gd name="T9" fmla="*/ 2147483647 h 952"/>
                <a:gd name="T10" fmla="*/ 2147483647 w 1205"/>
                <a:gd name="T11" fmla="*/ 2147483647 h 952"/>
                <a:gd name="T12" fmla="*/ 2147483647 w 1205"/>
                <a:gd name="T13" fmla="*/ 2147483647 h 952"/>
                <a:gd name="T14" fmla="*/ 2147483647 w 1205"/>
                <a:gd name="T15" fmla="*/ 2147483647 h 952"/>
                <a:gd name="T16" fmla="*/ 2147483647 w 1205"/>
                <a:gd name="T17" fmla="*/ 2147483647 h 952"/>
                <a:gd name="T18" fmla="*/ 2147483647 w 1205"/>
                <a:gd name="T19" fmla="*/ 2147483647 h 952"/>
                <a:gd name="T20" fmla="*/ 2147483647 w 1205"/>
                <a:gd name="T21" fmla="*/ 2147483647 h 952"/>
                <a:gd name="T22" fmla="*/ 2147483647 w 1205"/>
                <a:gd name="T23" fmla="*/ 2147483647 h 952"/>
                <a:gd name="T24" fmla="*/ 2147483647 w 1205"/>
                <a:gd name="T25" fmla="*/ 0 h 952"/>
                <a:gd name="T26" fmla="*/ 2147483647 w 1205"/>
                <a:gd name="T27" fmla="*/ 2147483647 h 952"/>
                <a:gd name="T28" fmla="*/ 2147483647 w 1205"/>
                <a:gd name="T29" fmla="*/ 2147483647 h 952"/>
                <a:gd name="T30" fmla="*/ 2147483647 w 1205"/>
                <a:gd name="T31" fmla="*/ 2147483647 h 952"/>
                <a:gd name="T32" fmla="*/ 2147483647 w 1205"/>
                <a:gd name="T33" fmla="*/ 2147483647 h 952"/>
                <a:gd name="T34" fmla="*/ 2147483647 w 1205"/>
                <a:gd name="T35" fmla="*/ 2147483647 h 952"/>
                <a:gd name="T36" fmla="*/ 2147483647 w 1205"/>
                <a:gd name="T37" fmla="*/ 2147483647 h 952"/>
                <a:gd name="T38" fmla="*/ 2147483647 w 1205"/>
                <a:gd name="T39" fmla="*/ 2147483647 h 952"/>
                <a:gd name="T40" fmla="*/ 2147483647 w 1205"/>
                <a:gd name="T41" fmla="*/ 2147483647 h 952"/>
                <a:gd name="T42" fmla="*/ 2147483647 w 1205"/>
                <a:gd name="T43" fmla="*/ 2147483647 h 952"/>
                <a:gd name="T44" fmla="*/ 2147483647 w 1205"/>
                <a:gd name="T45" fmla="*/ 2147483647 h 952"/>
                <a:gd name="T46" fmla="*/ 2147483647 w 1205"/>
                <a:gd name="T47" fmla="*/ 2147483647 h 952"/>
                <a:gd name="T48" fmla="*/ 2147483647 w 1205"/>
                <a:gd name="T49" fmla="*/ 2147483647 h 952"/>
                <a:gd name="T50" fmla="*/ 2147483647 w 1205"/>
                <a:gd name="T51" fmla="*/ 2147483647 h 952"/>
                <a:gd name="T52" fmla="*/ 2147483647 w 1205"/>
                <a:gd name="T53" fmla="*/ 2147483647 h 952"/>
                <a:gd name="T54" fmla="*/ 2147483647 w 1205"/>
                <a:gd name="T55" fmla="*/ 2147483647 h 952"/>
                <a:gd name="T56" fmla="*/ 2147483647 w 1205"/>
                <a:gd name="T57" fmla="*/ 2147483647 h 952"/>
                <a:gd name="T58" fmla="*/ 2147483647 w 1205"/>
                <a:gd name="T59" fmla="*/ 2147483647 h 952"/>
                <a:gd name="T60" fmla="*/ 2147483647 w 1205"/>
                <a:gd name="T61" fmla="*/ 2147483647 h 952"/>
                <a:gd name="T62" fmla="*/ 2147483647 w 1205"/>
                <a:gd name="T63" fmla="*/ 2147483647 h 952"/>
                <a:gd name="T64" fmla="*/ 2147483647 w 1205"/>
                <a:gd name="T65" fmla="*/ 2147483647 h 952"/>
                <a:gd name="T66" fmla="*/ 2147483647 w 1205"/>
                <a:gd name="T67" fmla="*/ 2147483647 h 952"/>
                <a:gd name="T68" fmla="*/ 2147483647 w 1205"/>
                <a:gd name="T69" fmla="*/ 2147483647 h 952"/>
                <a:gd name="T70" fmla="*/ 2147483647 w 1205"/>
                <a:gd name="T71" fmla="*/ 2147483647 h 952"/>
                <a:gd name="T72" fmla="*/ 2147483647 w 1205"/>
                <a:gd name="T73" fmla="*/ 2147483647 h 952"/>
                <a:gd name="T74" fmla="*/ 2147483647 w 1205"/>
                <a:gd name="T75" fmla="*/ 2147483647 h 952"/>
                <a:gd name="T76" fmla="*/ 0 w 1205"/>
                <a:gd name="T77" fmla="*/ 2147483647 h 952"/>
                <a:gd name="T78" fmla="*/ 2147483647 w 1205"/>
                <a:gd name="T79" fmla="*/ 2147483647 h 952"/>
                <a:gd name="T80" fmla="*/ 2147483647 w 1205"/>
                <a:gd name="T81" fmla="*/ 2147483647 h 952"/>
                <a:gd name="T82" fmla="*/ 2147483647 w 1205"/>
                <a:gd name="T83" fmla="*/ 2147483647 h 952"/>
                <a:gd name="T84" fmla="*/ 2147483647 w 1205"/>
                <a:gd name="T85" fmla="*/ 2147483647 h 952"/>
                <a:gd name="T86" fmla="*/ 2147483647 w 1205"/>
                <a:gd name="T87" fmla="*/ 2147483647 h 952"/>
                <a:gd name="T88" fmla="*/ 2147483647 w 1205"/>
                <a:gd name="T89" fmla="*/ 2147483647 h 952"/>
                <a:gd name="T90" fmla="*/ 2147483647 w 1205"/>
                <a:gd name="T91" fmla="*/ 2147483647 h 952"/>
                <a:gd name="T92" fmla="*/ 2147483647 w 1205"/>
                <a:gd name="T93" fmla="*/ 2147483647 h 952"/>
                <a:gd name="T94" fmla="*/ 2147483647 w 1205"/>
                <a:gd name="T95" fmla="*/ 2147483647 h 952"/>
                <a:gd name="T96" fmla="*/ 2147483647 w 1205"/>
                <a:gd name="T97" fmla="*/ 2147483647 h 952"/>
                <a:gd name="T98" fmla="*/ 2147483647 w 1205"/>
                <a:gd name="T99" fmla="*/ 2147483647 h 952"/>
                <a:gd name="T100" fmla="*/ 2147483647 w 1205"/>
                <a:gd name="T101" fmla="*/ 2147483647 h 952"/>
                <a:gd name="T102" fmla="*/ 2147483647 w 1205"/>
                <a:gd name="T103" fmla="*/ 2147483647 h 952"/>
                <a:gd name="T104" fmla="*/ 2147483647 w 1205"/>
                <a:gd name="T105" fmla="*/ 2147483647 h 952"/>
                <a:gd name="T106" fmla="*/ 2147483647 w 1205"/>
                <a:gd name="T107" fmla="*/ 2147483647 h 952"/>
                <a:gd name="T108" fmla="*/ 2147483647 w 1205"/>
                <a:gd name="T109" fmla="*/ 2147483647 h 952"/>
                <a:gd name="T110" fmla="*/ 2147483647 w 1205"/>
                <a:gd name="T111" fmla="*/ 2147483647 h 952"/>
                <a:gd name="T112" fmla="*/ 2147483647 w 1205"/>
                <a:gd name="T113" fmla="*/ 2147483647 h 952"/>
                <a:gd name="T114" fmla="*/ 2147483647 w 1205"/>
                <a:gd name="T115" fmla="*/ 2147483647 h 952"/>
                <a:gd name="T116" fmla="*/ 2147483647 w 1205"/>
                <a:gd name="T117" fmla="*/ 2147483647 h 9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05"/>
                <a:gd name="T178" fmla="*/ 0 h 952"/>
                <a:gd name="T179" fmla="*/ 1205 w 1205"/>
                <a:gd name="T180" fmla="*/ 952 h 95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05" h="952">
                  <a:moveTo>
                    <a:pt x="1180" y="352"/>
                  </a:moveTo>
                  <a:lnTo>
                    <a:pt x="1154" y="336"/>
                  </a:lnTo>
                  <a:lnTo>
                    <a:pt x="1095" y="320"/>
                  </a:lnTo>
                  <a:lnTo>
                    <a:pt x="1036" y="296"/>
                  </a:lnTo>
                  <a:lnTo>
                    <a:pt x="969" y="288"/>
                  </a:lnTo>
                  <a:lnTo>
                    <a:pt x="910" y="280"/>
                  </a:lnTo>
                  <a:lnTo>
                    <a:pt x="893" y="256"/>
                  </a:lnTo>
                  <a:lnTo>
                    <a:pt x="859" y="232"/>
                  </a:lnTo>
                  <a:lnTo>
                    <a:pt x="817" y="224"/>
                  </a:lnTo>
                  <a:lnTo>
                    <a:pt x="784" y="192"/>
                  </a:lnTo>
                  <a:lnTo>
                    <a:pt x="733" y="152"/>
                  </a:lnTo>
                  <a:lnTo>
                    <a:pt x="716" y="144"/>
                  </a:lnTo>
                  <a:lnTo>
                    <a:pt x="699" y="144"/>
                  </a:lnTo>
                  <a:lnTo>
                    <a:pt x="666" y="136"/>
                  </a:lnTo>
                  <a:lnTo>
                    <a:pt x="632" y="120"/>
                  </a:lnTo>
                  <a:lnTo>
                    <a:pt x="598" y="128"/>
                  </a:lnTo>
                  <a:lnTo>
                    <a:pt x="556" y="104"/>
                  </a:lnTo>
                  <a:lnTo>
                    <a:pt x="522" y="104"/>
                  </a:lnTo>
                  <a:lnTo>
                    <a:pt x="480" y="96"/>
                  </a:lnTo>
                  <a:lnTo>
                    <a:pt x="387" y="64"/>
                  </a:lnTo>
                  <a:lnTo>
                    <a:pt x="362" y="48"/>
                  </a:lnTo>
                  <a:lnTo>
                    <a:pt x="320" y="48"/>
                  </a:lnTo>
                  <a:lnTo>
                    <a:pt x="227" y="32"/>
                  </a:lnTo>
                  <a:lnTo>
                    <a:pt x="202" y="16"/>
                  </a:lnTo>
                  <a:lnTo>
                    <a:pt x="185" y="0"/>
                  </a:lnTo>
                  <a:lnTo>
                    <a:pt x="168" y="0"/>
                  </a:lnTo>
                  <a:lnTo>
                    <a:pt x="143" y="0"/>
                  </a:lnTo>
                  <a:lnTo>
                    <a:pt x="135" y="8"/>
                  </a:lnTo>
                  <a:lnTo>
                    <a:pt x="126" y="24"/>
                  </a:lnTo>
                  <a:lnTo>
                    <a:pt x="109" y="24"/>
                  </a:lnTo>
                  <a:lnTo>
                    <a:pt x="59" y="32"/>
                  </a:lnTo>
                  <a:lnTo>
                    <a:pt x="17" y="48"/>
                  </a:lnTo>
                  <a:lnTo>
                    <a:pt x="25" y="80"/>
                  </a:lnTo>
                  <a:lnTo>
                    <a:pt x="25" y="88"/>
                  </a:lnTo>
                  <a:lnTo>
                    <a:pt x="25" y="104"/>
                  </a:lnTo>
                  <a:lnTo>
                    <a:pt x="34" y="128"/>
                  </a:lnTo>
                  <a:lnTo>
                    <a:pt x="17" y="184"/>
                  </a:lnTo>
                  <a:lnTo>
                    <a:pt x="67" y="176"/>
                  </a:lnTo>
                  <a:lnTo>
                    <a:pt x="84" y="184"/>
                  </a:lnTo>
                  <a:lnTo>
                    <a:pt x="84" y="200"/>
                  </a:lnTo>
                  <a:lnTo>
                    <a:pt x="76" y="208"/>
                  </a:lnTo>
                  <a:lnTo>
                    <a:pt x="93" y="216"/>
                  </a:lnTo>
                  <a:lnTo>
                    <a:pt x="126" y="216"/>
                  </a:lnTo>
                  <a:lnTo>
                    <a:pt x="143" y="232"/>
                  </a:lnTo>
                  <a:lnTo>
                    <a:pt x="168" y="232"/>
                  </a:lnTo>
                  <a:lnTo>
                    <a:pt x="194" y="224"/>
                  </a:lnTo>
                  <a:lnTo>
                    <a:pt x="227" y="240"/>
                  </a:lnTo>
                  <a:lnTo>
                    <a:pt x="236" y="256"/>
                  </a:lnTo>
                  <a:lnTo>
                    <a:pt x="236" y="264"/>
                  </a:lnTo>
                  <a:lnTo>
                    <a:pt x="253" y="272"/>
                  </a:lnTo>
                  <a:lnTo>
                    <a:pt x="261" y="288"/>
                  </a:lnTo>
                  <a:lnTo>
                    <a:pt x="261" y="296"/>
                  </a:lnTo>
                  <a:lnTo>
                    <a:pt x="227" y="312"/>
                  </a:lnTo>
                  <a:lnTo>
                    <a:pt x="202" y="328"/>
                  </a:lnTo>
                  <a:lnTo>
                    <a:pt x="168" y="344"/>
                  </a:lnTo>
                  <a:lnTo>
                    <a:pt x="177" y="368"/>
                  </a:lnTo>
                  <a:lnTo>
                    <a:pt x="160" y="400"/>
                  </a:lnTo>
                  <a:lnTo>
                    <a:pt x="160" y="424"/>
                  </a:lnTo>
                  <a:lnTo>
                    <a:pt x="152" y="432"/>
                  </a:lnTo>
                  <a:lnTo>
                    <a:pt x="143" y="432"/>
                  </a:lnTo>
                  <a:lnTo>
                    <a:pt x="143" y="464"/>
                  </a:lnTo>
                  <a:lnTo>
                    <a:pt x="126" y="480"/>
                  </a:lnTo>
                  <a:lnTo>
                    <a:pt x="101" y="488"/>
                  </a:lnTo>
                  <a:lnTo>
                    <a:pt x="76" y="488"/>
                  </a:lnTo>
                  <a:lnTo>
                    <a:pt x="93" y="552"/>
                  </a:lnTo>
                  <a:lnTo>
                    <a:pt x="109" y="568"/>
                  </a:lnTo>
                  <a:lnTo>
                    <a:pt x="109" y="576"/>
                  </a:lnTo>
                  <a:lnTo>
                    <a:pt x="101" y="584"/>
                  </a:lnTo>
                  <a:lnTo>
                    <a:pt x="76" y="592"/>
                  </a:lnTo>
                  <a:lnTo>
                    <a:pt x="67" y="608"/>
                  </a:lnTo>
                  <a:lnTo>
                    <a:pt x="59" y="632"/>
                  </a:lnTo>
                  <a:lnTo>
                    <a:pt x="67" y="656"/>
                  </a:lnTo>
                  <a:lnTo>
                    <a:pt x="76" y="672"/>
                  </a:lnTo>
                  <a:lnTo>
                    <a:pt x="84" y="672"/>
                  </a:lnTo>
                  <a:lnTo>
                    <a:pt x="59" y="696"/>
                  </a:lnTo>
                  <a:lnTo>
                    <a:pt x="17" y="720"/>
                  </a:lnTo>
                  <a:lnTo>
                    <a:pt x="8" y="752"/>
                  </a:lnTo>
                  <a:lnTo>
                    <a:pt x="0" y="784"/>
                  </a:lnTo>
                  <a:lnTo>
                    <a:pt x="17" y="784"/>
                  </a:lnTo>
                  <a:lnTo>
                    <a:pt x="59" y="792"/>
                  </a:lnTo>
                  <a:lnTo>
                    <a:pt x="93" y="816"/>
                  </a:lnTo>
                  <a:lnTo>
                    <a:pt x="109" y="840"/>
                  </a:lnTo>
                  <a:lnTo>
                    <a:pt x="109" y="880"/>
                  </a:lnTo>
                  <a:lnTo>
                    <a:pt x="118" y="920"/>
                  </a:lnTo>
                  <a:lnTo>
                    <a:pt x="152" y="952"/>
                  </a:lnTo>
                  <a:lnTo>
                    <a:pt x="219" y="928"/>
                  </a:lnTo>
                  <a:lnTo>
                    <a:pt x="253" y="920"/>
                  </a:lnTo>
                  <a:lnTo>
                    <a:pt x="295" y="912"/>
                  </a:lnTo>
                  <a:lnTo>
                    <a:pt x="337" y="896"/>
                  </a:lnTo>
                  <a:lnTo>
                    <a:pt x="379" y="904"/>
                  </a:lnTo>
                  <a:lnTo>
                    <a:pt x="463" y="920"/>
                  </a:lnTo>
                  <a:lnTo>
                    <a:pt x="539" y="928"/>
                  </a:lnTo>
                  <a:lnTo>
                    <a:pt x="573" y="928"/>
                  </a:lnTo>
                  <a:lnTo>
                    <a:pt x="598" y="904"/>
                  </a:lnTo>
                  <a:lnTo>
                    <a:pt x="615" y="872"/>
                  </a:lnTo>
                  <a:lnTo>
                    <a:pt x="649" y="856"/>
                  </a:lnTo>
                  <a:lnTo>
                    <a:pt x="733" y="848"/>
                  </a:lnTo>
                  <a:lnTo>
                    <a:pt x="725" y="824"/>
                  </a:lnTo>
                  <a:lnTo>
                    <a:pt x="733" y="800"/>
                  </a:lnTo>
                  <a:lnTo>
                    <a:pt x="784" y="752"/>
                  </a:lnTo>
                  <a:lnTo>
                    <a:pt x="842" y="720"/>
                  </a:lnTo>
                  <a:lnTo>
                    <a:pt x="809" y="664"/>
                  </a:lnTo>
                  <a:lnTo>
                    <a:pt x="809" y="624"/>
                  </a:lnTo>
                  <a:lnTo>
                    <a:pt x="842" y="592"/>
                  </a:lnTo>
                  <a:lnTo>
                    <a:pt x="885" y="536"/>
                  </a:lnTo>
                  <a:lnTo>
                    <a:pt x="927" y="504"/>
                  </a:lnTo>
                  <a:lnTo>
                    <a:pt x="935" y="504"/>
                  </a:lnTo>
                  <a:lnTo>
                    <a:pt x="944" y="472"/>
                  </a:lnTo>
                  <a:lnTo>
                    <a:pt x="977" y="448"/>
                  </a:lnTo>
                  <a:lnTo>
                    <a:pt x="1019" y="440"/>
                  </a:lnTo>
                  <a:lnTo>
                    <a:pt x="1095" y="432"/>
                  </a:lnTo>
                  <a:lnTo>
                    <a:pt x="1196" y="376"/>
                  </a:lnTo>
                  <a:lnTo>
                    <a:pt x="1205" y="376"/>
                  </a:lnTo>
                  <a:lnTo>
                    <a:pt x="1205" y="368"/>
                  </a:lnTo>
                  <a:lnTo>
                    <a:pt x="1205" y="344"/>
                  </a:lnTo>
                  <a:lnTo>
                    <a:pt x="1180" y="352"/>
                  </a:lnTo>
                  <a:close/>
                </a:path>
              </a:pathLst>
            </a:custGeom>
            <a:solidFill>
              <a:schemeClr val="bg1"/>
            </a:solidFill>
            <a:ln w="12700">
              <a:solidFill>
                <a:srgbClr val="000000"/>
              </a:solidFill>
              <a:round/>
              <a:headEnd/>
              <a:tailEnd/>
            </a:ln>
          </p:spPr>
          <p:txBody>
            <a:bodyPr/>
            <a:lstStyle/>
            <a:p>
              <a:endParaRPr lang="en-US"/>
            </a:p>
          </p:txBody>
        </p:sp>
        <p:sp>
          <p:nvSpPr>
            <p:cNvPr id="34829" name="Freeform 8"/>
            <p:cNvSpPr>
              <a:spLocks/>
            </p:cNvSpPr>
            <p:nvPr/>
          </p:nvSpPr>
          <p:spPr bwMode="auto">
            <a:xfrm>
              <a:off x="2457450" y="4953000"/>
              <a:ext cx="514350" cy="738188"/>
            </a:xfrm>
            <a:custGeom>
              <a:avLst/>
              <a:gdLst>
                <a:gd name="T0" fmla="*/ 2147483647 w 421"/>
                <a:gd name="T1" fmla="*/ 2147483647 h 616"/>
                <a:gd name="T2" fmla="*/ 2147483647 w 421"/>
                <a:gd name="T3" fmla="*/ 2147483647 h 616"/>
                <a:gd name="T4" fmla="*/ 2147483647 w 421"/>
                <a:gd name="T5" fmla="*/ 2147483647 h 616"/>
                <a:gd name="T6" fmla="*/ 2147483647 w 421"/>
                <a:gd name="T7" fmla="*/ 2147483647 h 616"/>
                <a:gd name="T8" fmla="*/ 2147483647 w 421"/>
                <a:gd name="T9" fmla="*/ 2147483647 h 616"/>
                <a:gd name="T10" fmla="*/ 2147483647 w 421"/>
                <a:gd name="T11" fmla="*/ 2147483647 h 616"/>
                <a:gd name="T12" fmla="*/ 2147483647 w 421"/>
                <a:gd name="T13" fmla="*/ 2147483647 h 616"/>
                <a:gd name="T14" fmla="*/ 2147483647 w 421"/>
                <a:gd name="T15" fmla="*/ 2147483647 h 616"/>
                <a:gd name="T16" fmla="*/ 2147483647 w 421"/>
                <a:gd name="T17" fmla="*/ 2147483647 h 616"/>
                <a:gd name="T18" fmla="*/ 2147483647 w 421"/>
                <a:gd name="T19" fmla="*/ 2147483647 h 616"/>
                <a:gd name="T20" fmla="*/ 2147483647 w 421"/>
                <a:gd name="T21" fmla="*/ 2147483647 h 616"/>
                <a:gd name="T22" fmla="*/ 2147483647 w 421"/>
                <a:gd name="T23" fmla="*/ 2147483647 h 616"/>
                <a:gd name="T24" fmla="*/ 2147483647 w 421"/>
                <a:gd name="T25" fmla="*/ 2147483647 h 616"/>
                <a:gd name="T26" fmla="*/ 2147483647 w 421"/>
                <a:gd name="T27" fmla="*/ 2147483647 h 616"/>
                <a:gd name="T28" fmla="*/ 2147483647 w 421"/>
                <a:gd name="T29" fmla="*/ 2147483647 h 616"/>
                <a:gd name="T30" fmla="*/ 2147483647 w 421"/>
                <a:gd name="T31" fmla="*/ 2147483647 h 616"/>
                <a:gd name="T32" fmla="*/ 2147483647 w 421"/>
                <a:gd name="T33" fmla="*/ 2147483647 h 616"/>
                <a:gd name="T34" fmla="*/ 2147483647 w 421"/>
                <a:gd name="T35" fmla="*/ 2147483647 h 616"/>
                <a:gd name="T36" fmla="*/ 2147483647 w 421"/>
                <a:gd name="T37" fmla="*/ 2147483647 h 616"/>
                <a:gd name="T38" fmla="*/ 2147483647 w 421"/>
                <a:gd name="T39" fmla="*/ 2147483647 h 616"/>
                <a:gd name="T40" fmla="*/ 2147483647 w 421"/>
                <a:gd name="T41" fmla="*/ 2147483647 h 616"/>
                <a:gd name="T42" fmla="*/ 2147483647 w 421"/>
                <a:gd name="T43" fmla="*/ 2147483647 h 616"/>
                <a:gd name="T44" fmla="*/ 2147483647 w 421"/>
                <a:gd name="T45" fmla="*/ 2147483647 h 616"/>
                <a:gd name="T46" fmla="*/ 2147483647 w 421"/>
                <a:gd name="T47" fmla="*/ 2147483647 h 616"/>
                <a:gd name="T48" fmla="*/ 2147483647 w 421"/>
                <a:gd name="T49" fmla="*/ 2147483647 h 616"/>
                <a:gd name="T50" fmla="*/ 2147483647 w 421"/>
                <a:gd name="T51" fmla="*/ 2147483647 h 616"/>
                <a:gd name="T52" fmla="*/ 2147483647 w 421"/>
                <a:gd name="T53" fmla="*/ 2147483647 h 616"/>
                <a:gd name="T54" fmla="*/ 2147483647 w 421"/>
                <a:gd name="T55" fmla="*/ 2147483647 h 616"/>
                <a:gd name="T56" fmla="*/ 2147483647 w 421"/>
                <a:gd name="T57" fmla="*/ 2147483647 h 616"/>
                <a:gd name="T58" fmla="*/ 2147483647 w 421"/>
                <a:gd name="T59" fmla="*/ 2147483647 h 616"/>
                <a:gd name="T60" fmla="*/ 2147483647 w 421"/>
                <a:gd name="T61" fmla="*/ 2147483647 h 616"/>
                <a:gd name="T62" fmla="*/ 2147483647 w 421"/>
                <a:gd name="T63" fmla="*/ 2147483647 h 616"/>
                <a:gd name="T64" fmla="*/ 2147483647 w 421"/>
                <a:gd name="T65" fmla="*/ 2147483647 h 616"/>
                <a:gd name="T66" fmla="*/ 2147483647 w 421"/>
                <a:gd name="T67" fmla="*/ 2147483647 h 6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1"/>
                <a:gd name="T103" fmla="*/ 0 h 616"/>
                <a:gd name="T104" fmla="*/ 421 w 421"/>
                <a:gd name="T105" fmla="*/ 616 h 6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1" h="616">
                  <a:moveTo>
                    <a:pt x="413" y="96"/>
                  </a:moveTo>
                  <a:lnTo>
                    <a:pt x="396" y="88"/>
                  </a:lnTo>
                  <a:lnTo>
                    <a:pt x="396" y="80"/>
                  </a:lnTo>
                  <a:lnTo>
                    <a:pt x="387" y="64"/>
                  </a:lnTo>
                  <a:lnTo>
                    <a:pt x="354" y="48"/>
                  </a:lnTo>
                  <a:lnTo>
                    <a:pt x="328" y="56"/>
                  </a:lnTo>
                  <a:lnTo>
                    <a:pt x="303" y="56"/>
                  </a:lnTo>
                  <a:lnTo>
                    <a:pt x="286" y="40"/>
                  </a:lnTo>
                  <a:lnTo>
                    <a:pt x="253" y="40"/>
                  </a:lnTo>
                  <a:lnTo>
                    <a:pt x="236" y="32"/>
                  </a:lnTo>
                  <a:lnTo>
                    <a:pt x="244" y="24"/>
                  </a:lnTo>
                  <a:lnTo>
                    <a:pt x="244" y="8"/>
                  </a:lnTo>
                  <a:lnTo>
                    <a:pt x="227" y="0"/>
                  </a:lnTo>
                  <a:lnTo>
                    <a:pt x="177" y="8"/>
                  </a:lnTo>
                  <a:lnTo>
                    <a:pt x="177" y="40"/>
                  </a:lnTo>
                  <a:lnTo>
                    <a:pt x="160" y="112"/>
                  </a:lnTo>
                  <a:lnTo>
                    <a:pt x="143" y="144"/>
                  </a:lnTo>
                  <a:lnTo>
                    <a:pt x="126" y="208"/>
                  </a:lnTo>
                  <a:lnTo>
                    <a:pt x="92" y="256"/>
                  </a:lnTo>
                  <a:lnTo>
                    <a:pt x="42" y="304"/>
                  </a:lnTo>
                  <a:lnTo>
                    <a:pt x="17" y="352"/>
                  </a:lnTo>
                  <a:lnTo>
                    <a:pt x="8" y="368"/>
                  </a:lnTo>
                  <a:lnTo>
                    <a:pt x="17" y="376"/>
                  </a:lnTo>
                  <a:lnTo>
                    <a:pt x="34" y="384"/>
                  </a:lnTo>
                  <a:lnTo>
                    <a:pt x="25" y="400"/>
                  </a:lnTo>
                  <a:lnTo>
                    <a:pt x="25" y="408"/>
                  </a:lnTo>
                  <a:lnTo>
                    <a:pt x="34" y="416"/>
                  </a:lnTo>
                  <a:lnTo>
                    <a:pt x="67" y="416"/>
                  </a:lnTo>
                  <a:lnTo>
                    <a:pt x="42" y="480"/>
                  </a:lnTo>
                  <a:lnTo>
                    <a:pt x="42" y="512"/>
                  </a:lnTo>
                  <a:lnTo>
                    <a:pt x="25" y="544"/>
                  </a:lnTo>
                  <a:lnTo>
                    <a:pt x="8" y="576"/>
                  </a:lnTo>
                  <a:lnTo>
                    <a:pt x="0" y="592"/>
                  </a:lnTo>
                  <a:lnTo>
                    <a:pt x="8" y="592"/>
                  </a:lnTo>
                  <a:lnTo>
                    <a:pt x="50" y="592"/>
                  </a:lnTo>
                  <a:lnTo>
                    <a:pt x="84" y="600"/>
                  </a:lnTo>
                  <a:lnTo>
                    <a:pt x="126" y="616"/>
                  </a:lnTo>
                  <a:lnTo>
                    <a:pt x="160" y="608"/>
                  </a:lnTo>
                  <a:lnTo>
                    <a:pt x="168" y="576"/>
                  </a:lnTo>
                  <a:lnTo>
                    <a:pt x="177" y="544"/>
                  </a:lnTo>
                  <a:lnTo>
                    <a:pt x="219" y="520"/>
                  </a:lnTo>
                  <a:lnTo>
                    <a:pt x="244" y="496"/>
                  </a:lnTo>
                  <a:lnTo>
                    <a:pt x="236" y="496"/>
                  </a:lnTo>
                  <a:lnTo>
                    <a:pt x="227" y="480"/>
                  </a:lnTo>
                  <a:lnTo>
                    <a:pt x="219" y="456"/>
                  </a:lnTo>
                  <a:lnTo>
                    <a:pt x="227" y="432"/>
                  </a:lnTo>
                  <a:lnTo>
                    <a:pt x="236" y="416"/>
                  </a:lnTo>
                  <a:lnTo>
                    <a:pt x="261" y="408"/>
                  </a:lnTo>
                  <a:lnTo>
                    <a:pt x="269" y="400"/>
                  </a:lnTo>
                  <a:lnTo>
                    <a:pt x="269" y="392"/>
                  </a:lnTo>
                  <a:lnTo>
                    <a:pt x="253" y="376"/>
                  </a:lnTo>
                  <a:lnTo>
                    <a:pt x="236" y="312"/>
                  </a:lnTo>
                  <a:lnTo>
                    <a:pt x="261" y="312"/>
                  </a:lnTo>
                  <a:lnTo>
                    <a:pt x="286" y="304"/>
                  </a:lnTo>
                  <a:lnTo>
                    <a:pt x="303" y="288"/>
                  </a:lnTo>
                  <a:lnTo>
                    <a:pt x="303" y="256"/>
                  </a:lnTo>
                  <a:lnTo>
                    <a:pt x="312" y="256"/>
                  </a:lnTo>
                  <a:lnTo>
                    <a:pt x="320" y="248"/>
                  </a:lnTo>
                  <a:lnTo>
                    <a:pt x="320" y="224"/>
                  </a:lnTo>
                  <a:lnTo>
                    <a:pt x="337" y="192"/>
                  </a:lnTo>
                  <a:lnTo>
                    <a:pt x="328" y="168"/>
                  </a:lnTo>
                  <a:lnTo>
                    <a:pt x="362" y="152"/>
                  </a:lnTo>
                  <a:lnTo>
                    <a:pt x="387" y="136"/>
                  </a:lnTo>
                  <a:lnTo>
                    <a:pt x="421" y="120"/>
                  </a:lnTo>
                  <a:lnTo>
                    <a:pt x="421" y="112"/>
                  </a:lnTo>
                  <a:lnTo>
                    <a:pt x="413" y="96"/>
                  </a:lnTo>
                  <a:close/>
                </a:path>
              </a:pathLst>
            </a:custGeom>
            <a:solidFill>
              <a:schemeClr val="bg1"/>
            </a:solidFill>
            <a:ln w="12700">
              <a:solidFill>
                <a:srgbClr val="000000"/>
              </a:solidFill>
              <a:round/>
              <a:headEnd/>
              <a:tailEnd/>
            </a:ln>
          </p:spPr>
          <p:txBody>
            <a:bodyPr/>
            <a:lstStyle/>
            <a:p>
              <a:endParaRPr lang="en-US"/>
            </a:p>
          </p:txBody>
        </p:sp>
        <p:sp>
          <p:nvSpPr>
            <p:cNvPr id="34830" name="Freeform 9"/>
            <p:cNvSpPr>
              <a:spLocks/>
            </p:cNvSpPr>
            <p:nvPr/>
          </p:nvSpPr>
          <p:spPr bwMode="auto">
            <a:xfrm>
              <a:off x="2930525" y="3132138"/>
              <a:ext cx="484188" cy="488950"/>
            </a:xfrm>
            <a:custGeom>
              <a:avLst/>
              <a:gdLst>
                <a:gd name="T0" fmla="*/ 2147483647 w 396"/>
                <a:gd name="T1" fmla="*/ 2147483647 h 408"/>
                <a:gd name="T2" fmla="*/ 2147483647 w 396"/>
                <a:gd name="T3" fmla="*/ 2147483647 h 408"/>
                <a:gd name="T4" fmla="*/ 2147483647 w 396"/>
                <a:gd name="T5" fmla="*/ 2147483647 h 408"/>
                <a:gd name="T6" fmla="*/ 2147483647 w 396"/>
                <a:gd name="T7" fmla="*/ 2147483647 h 408"/>
                <a:gd name="T8" fmla="*/ 2147483647 w 396"/>
                <a:gd name="T9" fmla="*/ 2147483647 h 408"/>
                <a:gd name="T10" fmla="*/ 2147483647 w 396"/>
                <a:gd name="T11" fmla="*/ 2147483647 h 408"/>
                <a:gd name="T12" fmla="*/ 2147483647 w 396"/>
                <a:gd name="T13" fmla="*/ 2147483647 h 408"/>
                <a:gd name="T14" fmla="*/ 2147483647 w 396"/>
                <a:gd name="T15" fmla="*/ 2147483647 h 408"/>
                <a:gd name="T16" fmla="*/ 2147483647 w 396"/>
                <a:gd name="T17" fmla="*/ 2147483647 h 408"/>
                <a:gd name="T18" fmla="*/ 2147483647 w 396"/>
                <a:gd name="T19" fmla="*/ 2147483647 h 408"/>
                <a:gd name="T20" fmla="*/ 2147483647 w 396"/>
                <a:gd name="T21" fmla="*/ 2147483647 h 408"/>
                <a:gd name="T22" fmla="*/ 2147483647 w 396"/>
                <a:gd name="T23" fmla="*/ 0 h 408"/>
                <a:gd name="T24" fmla="*/ 2147483647 w 396"/>
                <a:gd name="T25" fmla="*/ 0 h 408"/>
                <a:gd name="T26" fmla="*/ 2147483647 w 396"/>
                <a:gd name="T27" fmla="*/ 2147483647 h 408"/>
                <a:gd name="T28" fmla="*/ 2147483647 w 396"/>
                <a:gd name="T29" fmla="*/ 2147483647 h 408"/>
                <a:gd name="T30" fmla="*/ 2147483647 w 396"/>
                <a:gd name="T31" fmla="*/ 2147483647 h 408"/>
                <a:gd name="T32" fmla="*/ 2147483647 w 396"/>
                <a:gd name="T33" fmla="*/ 2147483647 h 408"/>
                <a:gd name="T34" fmla="*/ 2147483647 w 396"/>
                <a:gd name="T35" fmla="*/ 2147483647 h 408"/>
                <a:gd name="T36" fmla="*/ 2147483647 w 396"/>
                <a:gd name="T37" fmla="*/ 2147483647 h 408"/>
                <a:gd name="T38" fmla="*/ 2147483647 w 396"/>
                <a:gd name="T39" fmla="*/ 2147483647 h 408"/>
                <a:gd name="T40" fmla="*/ 2147483647 w 396"/>
                <a:gd name="T41" fmla="*/ 2147483647 h 408"/>
                <a:gd name="T42" fmla="*/ 2147483647 w 396"/>
                <a:gd name="T43" fmla="*/ 2147483647 h 408"/>
                <a:gd name="T44" fmla="*/ 2147483647 w 396"/>
                <a:gd name="T45" fmla="*/ 2147483647 h 408"/>
                <a:gd name="T46" fmla="*/ 2147483647 w 396"/>
                <a:gd name="T47" fmla="*/ 2147483647 h 408"/>
                <a:gd name="T48" fmla="*/ 2147483647 w 396"/>
                <a:gd name="T49" fmla="*/ 2147483647 h 408"/>
                <a:gd name="T50" fmla="*/ 2147483647 w 396"/>
                <a:gd name="T51" fmla="*/ 2147483647 h 408"/>
                <a:gd name="T52" fmla="*/ 2147483647 w 396"/>
                <a:gd name="T53" fmla="*/ 2147483647 h 408"/>
                <a:gd name="T54" fmla="*/ 2147483647 w 396"/>
                <a:gd name="T55" fmla="*/ 2147483647 h 408"/>
                <a:gd name="T56" fmla="*/ 2147483647 w 396"/>
                <a:gd name="T57" fmla="*/ 2147483647 h 408"/>
                <a:gd name="T58" fmla="*/ 2147483647 w 396"/>
                <a:gd name="T59" fmla="*/ 2147483647 h 408"/>
                <a:gd name="T60" fmla="*/ 2147483647 w 396"/>
                <a:gd name="T61" fmla="*/ 2147483647 h 408"/>
                <a:gd name="T62" fmla="*/ 2147483647 w 396"/>
                <a:gd name="T63" fmla="*/ 2147483647 h 408"/>
                <a:gd name="T64" fmla="*/ 0 w 396"/>
                <a:gd name="T65" fmla="*/ 2147483647 h 408"/>
                <a:gd name="T66" fmla="*/ 2147483647 w 396"/>
                <a:gd name="T67" fmla="*/ 2147483647 h 408"/>
                <a:gd name="T68" fmla="*/ 2147483647 w 396"/>
                <a:gd name="T69" fmla="*/ 2147483647 h 408"/>
                <a:gd name="T70" fmla="*/ 2147483647 w 396"/>
                <a:gd name="T71" fmla="*/ 2147483647 h 408"/>
                <a:gd name="T72" fmla="*/ 2147483647 w 396"/>
                <a:gd name="T73" fmla="*/ 2147483647 h 408"/>
                <a:gd name="T74" fmla="*/ 2147483647 w 396"/>
                <a:gd name="T75" fmla="*/ 2147483647 h 408"/>
                <a:gd name="T76" fmla="*/ 2147483647 w 396"/>
                <a:gd name="T77" fmla="*/ 2147483647 h 408"/>
                <a:gd name="T78" fmla="*/ 2147483647 w 396"/>
                <a:gd name="T79" fmla="*/ 2147483647 h 408"/>
                <a:gd name="T80" fmla="*/ 2147483647 w 396"/>
                <a:gd name="T81" fmla="*/ 2147483647 h 408"/>
                <a:gd name="T82" fmla="*/ 2147483647 w 396"/>
                <a:gd name="T83" fmla="*/ 2147483647 h 408"/>
                <a:gd name="T84" fmla="*/ 2147483647 w 396"/>
                <a:gd name="T85" fmla="*/ 2147483647 h 408"/>
                <a:gd name="T86" fmla="*/ 2147483647 w 396"/>
                <a:gd name="T87" fmla="*/ 2147483647 h 408"/>
                <a:gd name="T88" fmla="*/ 2147483647 w 396"/>
                <a:gd name="T89" fmla="*/ 2147483647 h 408"/>
                <a:gd name="T90" fmla="*/ 2147483647 w 396"/>
                <a:gd name="T91" fmla="*/ 2147483647 h 408"/>
                <a:gd name="T92" fmla="*/ 2147483647 w 396"/>
                <a:gd name="T93" fmla="*/ 2147483647 h 408"/>
                <a:gd name="T94" fmla="*/ 2147483647 w 396"/>
                <a:gd name="T95" fmla="*/ 2147483647 h 408"/>
                <a:gd name="T96" fmla="*/ 2147483647 w 396"/>
                <a:gd name="T97" fmla="*/ 2147483647 h 4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96"/>
                <a:gd name="T148" fmla="*/ 0 h 408"/>
                <a:gd name="T149" fmla="*/ 396 w 396"/>
                <a:gd name="T150" fmla="*/ 408 h 40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96" h="408">
                  <a:moveTo>
                    <a:pt x="363" y="160"/>
                  </a:moveTo>
                  <a:lnTo>
                    <a:pt x="354" y="136"/>
                  </a:lnTo>
                  <a:lnTo>
                    <a:pt x="329" y="120"/>
                  </a:lnTo>
                  <a:lnTo>
                    <a:pt x="295" y="144"/>
                  </a:lnTo>
                  <a:lnTo>
                    <a:pt x="262" y="96"/>
                  </a:lnTo>
                  <a:lnTo>
                    <a:pt x="278" y="80"/>
                  </a:lnTo>
                  <a:lnTo>
                    <a:pt x="278" y="64"/>
                  </a:lnTo>
                  <a:lnTo>
                    <a:pt x="312" y="64"/>
                  </a:lnTo>
                  <a:lnTo>
                    <a:pt x="321" y="48"/>
                  </a:lnTo>
                  <a:lnTo>
                    <a:pt x="329" y="32"/>
                  </a:lnTo>
                  <a:lnTo>
                    <a:pt x="346" y="24"/>
                  </a:lnTo>
                  <a:lnTo>
                    <a:pt x="354" y="0"/>
                  </a:lnTo>
                  <a:lnTo>
                    <a:pt x="329" y="0"/>
                  </a:lnTo>
                  <a:lnTo>
                    <a:pt x="304" y="8"/>
                  </a:lnTo>
                  <a:lnTo>
                    <a:pt x="262" y="8"/>
                  </a:lnTo>
                  <a:lnTo>
                    <a:pt x="253" y="32"/>
                  </a:lnTo>
                  <a:lnTo>
                    <a:pt x="219" y="56"/>
                  </a:lnTo>
                  <a:lnTo>
                    <a:pt x="219" y="80"/>
                  </a:lnTo>
                  <a:lnTo>
                    <a:pt x="186" y="96"/>
                  </a:lnTo>
                  <a:lnTo>
                    <a:pt x="127" y="72"/>
                  </a:lnTo>
                  <a:lnTo>
                    <a:pt x="93" y="104"/>
                  </a:lnTo>
                  <a:lnTo>
                    <a:pt x="110" y="136"/>
                  </a:lnTo>
                  <a:lnTo>
                    <a:pt x="76" y="160"/>
                  </a:lnTo>
                  <a:lnTo>
                    <a:pt x="110" y="192"/>
                  </a:lnTo>
                  <a:lnTo>
                    <a:pt x="152" y="208"/>
                  </a:lnTo>
                  <a:lnTo>
                    <a:pt x="144" y="224"/>
                  </a:lnTo>
                  <a:lnTo>
                    <a:pt x="118" y="224"/>
                  </a:lnTo>
                  <a:lnTo>
                    <a:pt x="102" y="256"/>
                  </a:lnTo>
                  <a:lnTo>
                    <a:pt x="51" y="272"/>
                  </a:lnTo>
                  <a:lnTo>
                    <a:pt x="51" y="304"/>
                  </a:lnTo>
                  <a:lnTo>
                    <a:pt x="9" y="312"/>
                  </a:lnTo>
                  <a:lnTo>
                    <a:pt x="26" y="328"/>
                  </a:lnTo>
                  <a:lnTo>
                    <a:pt x="0" y="368"/>
                  </a:lnTo>
                  <a:lnTo>
                    <a:pt x="26" y="376"/>
                  </a:lnTo>
                  <a:lnTo>
                    <a:pt x="26" y="400"/>
                  </a:lnTo>
                  <a:lnTo>
                    <a:pt x="59" y="408"/>
                  </a:lnTo>
                  <a:lnTo>
                    <a:pt x="160" y="408"/>
                  </a:lnTo>
                  <a:lnTo>
                    <a:pt x="228" y="376"/>
                  </a:lnTo>
                  <a:lnTo>
                    <a:pt x="287" y="376"/>
                  </a:lnTo>
                  <a:lnTo>
                    <a:pt x="329" y="392"/>
                  </a:lnTo>
                  <a:lnTo>
                    <a:pt x="329" y="360"/>
                  </a:lnTo>
                  <a:lnTo>
                    <a:pt x="354" y="328"/>
                  </a:lnTo>
                  <a:lnTo>
                    <a:pt x="371" y="304"/>
                  </a:lnTo>
                  <a:lnTo>
                    <a:pt x="388" y="232"/>
                  </a:lnTo>
                  <a:lnTo>
                    <a:pt x="380" y="208"/>
                  </a:lnTo>
                  <a:lnTo>
                    <a:pt x="371" y="176"/>
                  </a:lnTo>
                  <a:lnTo>
                    <a:pt x="396" y="168"/>
                  </a:lnTo>
                  <a:lnTo>
                    <a:pt x="380" y="160"/>
                  </a:lnTo>
                  <a:lnTo>
                    <a:pt x="363" y="160"/>
                  </a:lnTo>
                  <a:close/>
                </a:path>
              </a:pathLst>
            </a:custGeom>
            <a:solidFill>
              <a:schemeClr val="bg1"/>
            </a:solidFill>
            <a:ln w="12700">
              <a:solidFill>
                <a:srgbClr val="000000"/>
              </a:solidFill>
              <a:round/>
              <a:headEnd/>
              <a:tailEnd/>
            </a:ln>
          </p:spPr>
          <p:txBody>
            <a:bodyPr/>
            <a:lstStyle/>
            <a:p>
              <a:endParaRPr lang="en-US"/>
            </a:p>
          </p:txBody>
        </p:sp>
        <p:sp>
          <p:nvSpPr>
            <p:cNvPr id="34831" name="Freeform 10"/>
            <p:cNvSpPr>
              <a:spLocks/>
            </p:cNvSpPr>
            <p:nvPr/>
          </p:nvSpPr>
          <p:spPr bwMode="auto">
            <a:xfrm>
              <a:off x="3251200" y="3160713"/>
              <a:ext cx="247650" cy="173038"/>
            </a:xfrm>
            <a:custGeom>
              <a:avLst/>
              <a:gdLst>
                <a:gd name="T0" fmla="*/ 2147483647 w 202"/>
                <a:gd name="T1" fmla="*/ 2147483647 h 144"/>
                <a:gd name="T2" fmla="*/ 2147483647 w 202"/>
                <a:gd name="T3" fmla="*/ 2147483647 h 144"/>
                <a:gd name="T4" fmla="*/ 2147483647 w 202"/>
                <a:gd name="T5" fmla="*/ 2147483647 h 144"/>
                <a:gd name="T6" fmla="*/ 2147483647 w 202"/>
                <a:gd name="T7" fmla="*/ 0 h 144"/>
                <a:gd name="T8" fmla="*/ 2147483647 w 202"/>
                <a:gd name="T9" fmla="*/ 0 h 144"/>
                <a:gd name="T10" fmla="*/ 2147483647 w 202"/>
                <a:gd name="T11" fmla="*/ 0 h 144"/>
                <a:gd name="T12" fmla="*/ 2147483647 w 202"/>
                <a:gd name="T13" fmla="*/ 0 h 144"/>
                <a:gd name="T14" fmla="*/ 2147483647 w 202"/>
                <a:gd name="T15" fmla="*/ 2147483647 h 144"/>
                <a:gd name="T16" fmla="*/ 2147483647 w 202"/>
                <a:gd name="T17" fmla="*/ 0 h 144"/>
                <a:gd name="T18" fmla="*/ 2147483647 w 202"/>
                <a:gd name="T19" fmla="*/ 2147483647 h 144"/>
                <a:gd name="T20" fmla="*/ 2147483647 w 202"/>
                <a:gd name="T21" fmla="*/ 2147483647 h 144"/>
                <a:gd name="T22" fmla="*/ 2147483647 w 202"/>
                <a:gd name="T23" fmla="*/ 2147483647 h 144"/>
                <a:gd name="T24" fmla="*/ 2147483647 w 202"/>
                <a:gd name="T25" fmla="*/ 2147483647 h 144"/>
                <a:gd name="T26" fmla="*/ 2147483647 w 202"/>
                <a:gd name="T27" fmla="*/ 2147483647 h 144"/>
                <a:gd name="T28" fmla="*/ 0 w 202"/>
                <a:gd name="T29" fmla="*/ 2147483647 h 144"/>
                <a:gd name="T30" fmla="*/ 2147483647 w 202"/>
                <a:gd name="T31" fmla="*/ 2147483647 h 144"/>
                <a:gd name="T32" fmla="*/ 2147483647 w 202"/>
                <a:gd name="T33" fmla="*/ 2147483647 h 144"/>
                <a:gd name="T34" fmla="*/ 2147483647 w 202"/>
                <a:gd name="T35" fmla="*/ 2147483647 h 144"/>
                <a:gd name="T36" fmla="*/ 2147483647 w 202"/>
                <a:gd name="T37" fmla="*/ 2147483647 h 144"/>
                <a:gd name="T38" fmla="*/ 2147483647 w 202"/>
                <a:gd name="T39" fmla="*/ 2147483647 h 144"/>
                <a:gd name="T40" fmla="*/ 2147483647 w 202"/>
                <a:gd name="T41" fmla="*/ 2147483647 h 144"/>
                <a:gd name="T42" fmla="*/ 2147483647 w 202"/>
                <a:gd name="T43" fmla="*/ 2147483647 h 144"/>
                <a:gd name="T44" fmla="*/ 2147483647 w 202"/>
                <a:gd name="T45" fmla="*/ 2147483647 h 144"/>
                <a:gd name="T46" fmla="*/ 2147483647 w 202"/>
                <a:gd name="T47" fmla="*/ 2147483647 h 144"/>
                <a:gd name="T48" fmla="*/ 2147483647 w 202"/>
                <a:gd name="T49" fmla="*/ 2147483647 h 144"/>
                <a:gd name="T50" fmla="*/ 2147483647 w 202"/>
                <a:gd name="T51" fmla="*/ 2147483647 h 1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2"/>
                <a:gd name="T79" fmla="*/ 0 h 144"/>
                <a:gd name="T80" fmla="*/ 202 w 202"/>
                <a:gd name="T81" fmla="*/ 144 h 14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2" h="144">
                  <a:moveTo>
                    <a:pt x="185" y="72"/>
                  </a:moveTo>
                  <a:lnTo>
                    <a:pt x="177" y="48"/>
                  </a:lnTo>
                  <a:lnTo>
                    <a:pt x="177" y="16"/>
                  </a:lnTo>
                  <a:lnTo>
                    <a:pt x="151" y="0"/>
                  </a:lnTo>
                  <a:lnTo>
                    <a:pt x="126" y="0"/>
                  </a:lnTo>
                  <a:lnTo>
                    <a:pt x="109" y="0"/>
                  </a:lnTo>
                  <a:lnTo>
                    <a:pt x="84" y="0"/>
                  </a:lnTo>
                  <a:lnTo>
                    <a:pt x="84" y="8"/>
                  </a:lnTo>
                  <a:lnTo>
                    <a:pt x="84" y="0"/>
                  </a:lnTo>
                  <a:lnTo>
                    <a:pt x="67" y="8"/>
                  </a:lnTo>
                  <a:lnTo>
                    <a:pt x="59" y="24"/>
                  </a:lnTo>
                  <a:lnTo>
                    <a:pt x="50" y="40"/>
                  </a:lnTo>
                  <a:lnTo>
                    <a:pt x="16" y="40"/>
                  </a:lnTo>
                  <a:lnTo>
                    <a:pt x="16" y="56"/>
                  </a:lnTo>
                  <a:lnTo>
                    <a:pt x="0" y="72"/>
                  </a:lnTo>
                  <a:lnTo>
                    <a:pt x="33" y="120"/>
                  </a:lnTo>
                  <a:lnTo>
                    <a:pt x="67" y="96"/>
                  </a:lnTo>
                  <a:lnTo>
                    <a:pt x="92" y="112"/>
                  </a:lnTo>
                  <a:lnTo>
                    <a:pt x="101" y="136"/>
                  </a:lnTo>
                  <a:lnTo>
                    <a:pt x="118" y="136"/>
                  </a:lnTo>
                  <a:lnTo>
                    <a:pt x="134" y="144"/>
                  </a:lnTo>
                  <a:lnTo>
                    <a:pt x="143" y="144"/>
                  </a:lnTo>
                  <a:lnTo>
                    <a:pt x="168" y="128"/>
                  </a:lnTo>
                  <a:lnTo>
                    <a:pt x="193" y="120"/>
                  </a:lnTo>
                  <a:lnTo>
                    <a:pt x="202" y="88"/>
                  </a:lnTo>
                  <a:lnTo>
                    <a:pt x="185" y="7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32" name="Freeform 11"/>
            <p:cNvSpPr>
              <a:spLocks/>
            </p:cNvSpPr>
            <p:nvPr/>
          </p:nvSpPr>
          <p:spPr bwMode="auto">
            <a:xfrm>
              <a:off x="3313113" y="2709863"/>
              <a:ext cx="814388" cy="1217613"/>
            </a:xfrm>
            <a:custGeom>
              <a:avLst/>
              <a:gdLst>
                <a:gd name="T0" fmla="*/ 2147483647 w 666"/>
                <a:gd name="T1" fmla="*/ 2147483647 h 1016"/>
                <a:gd name="T2" fmla="*/ 2147483647 w 666"/>
                <a:gd name="T3" fmla="*/ 2147483647 h 1016"/>
                <a:gd name="T4" fmla="*/ 2147483647 w 666"/>
                <a:gd name="T5" fmla="*/ 2147483647 h 1016"/>
                <a:gd name="T6" fmla="*/ 2147483647 w 666"/>
                <a:gd name="T7" fmla="*/ 2147483647 h 1016"/>
                <a:gd name="T8" fmla="*/ 2147483647 w 666"/>
                <a:gd name="T9" fmla="*/ 2147483647 h 1016"/>
                <a:gd name="T10" fmla="*/ 2147483647 w 666"/>
                <a:gd name="T11" fmla="*/ 2147483647 h 1016"/>
                <a:gd name="T12" fmla="*/ 2147483647 w 666"/>
                <a:gd name="T13" fmla="*/ 2147483647 h 1016"/>
                <a:gd name="T14" fmla="*/ 2147483647 w 666"/>
                <a:gd name="T15" fmla="*/ 2147483647 h 1016"/>
                <a:gd name="T16" fmla="*/ 2147483647 w 666"/>
                <a:gd name="T17" fmla="*/ 2147483647 h 1016"/>
                <a:gd name="T18" fmla="*/ 2147483647 w 666"/>
                <a:gd name="T19" fmla="*/ 2147483647 h 1016"/>
                <a:gd name="T20" fmla="*/ 2147483647 w 666"/>
                <a:gd name="T21" fmla="*/ 2147483647 h 1016"/>
                <a:gd name="T22" fmla="*/ 2147483647 w 666"/>
                <a:gd name="T23" fmla="*/ 2147483647 h 1016"/>
                <a:gd name="T24" fmla="*/ 2147483647 w 666"/>
                <a:gd name="T25" fmla="*/ 2147483647 h 1016"/>
                <a:gd name="T26" fmla="*/ 2147483647 w 666"/>
                <a:gd name="T27" fmla="*/ 2147483647 h 1016"/>
                <a:gd name="T28" fmla="*/ 2147483647 w 666"/>
                <a:gd name="T29" fmla="*/ 2147483647 h 1016"/>
                <a:gd name="T30" fmla="*/ 2147483647 w 666"/>
                <a:gd name="T31" fmla="*/ 2147483647 h 1016"/>
                <a:gd name="T32" fmla="*/ 2147483647 w 666"/>
                <a:gd name="T33" fmla="*/ 2147483647 h 1016"/>
                <a:gd name="T34" fmla="*/ 2147483647 w 666"/>
                <a:gd name="T35" fmla="*/ 2147483647 h 1016"/>
                <a:gd name="T36" fmla="*/ 2147483647 w 666"/>
                <a:gd name="T37" fmla="*/ 2147483647 h 1016"/>
                <a:gd name="T38" fmla="*/ 2147483647 w 666"/>
                <a:gd name="T39" fmla="*/ 2147483647 h 1016"/>
                <a:gd name="T40" fmla="*/ 2147483647 w 666"/>
                <a:gd name="T41" fmla="*/ 2147483647 h 1016"/>
                <a:gd name="T42" fmla="*/ 2147483647 w 666"/>
                <a:gd name="T43" fmla="*/ 2147483647 h 1016"/>
                <a:gd name="T44" fmla="*/ 2147483647 w 666"/>
                <a:gd name="T45" fmla="*/ 2147483647 h 1016"/>
                <a:gd name="T46" fmla="*/ 2147483647 w 666"/>
                <a:gd name="T47" fmla="*/ 2147483647 h 1016"/>
                <a:gd name="T48" fmla="*/ 2147483647 w 666"/>
                <a:gd name="T49" fmla="*/ 2147483647 h 1016"/>
                <a:gd name="T50" fmla="*/ 2147483647 w 666"/>
                <a:gd name="T51" fmla="*/ 2147483647 h 1016"/>
                <a:gd name="T52" fmla="*/ 0 w 666"/>
                <a:gd name="T53" fmla="*/ 2147483647 h 1016"/>
                <a:gd name="T54" fmla="*/ 2147483647 w 666"/>
                <a:gd name="T55" fmla="*/ 2147483647 h 1016"/>
                <a:gd name="T56" fmla="*/ 2147483647 w 666"/>
                <a:gd name="T57" fmla="*/ 2147483647 h 1016"/>
                <a:gd name="T58" fmla="*/ 2147483647 w 666"/>
                <a:gd name="T59" fmla="*/ 2147483647 h 1016"/>
                <a:gd name="T60" fmla="*/ 2147483647 w 666"/>
                <a:gd name="T61" fmla="*/ 2147483647 h 1016"/>
                <a:gd name="T62" fmla="*/ 2147483647 w 666"/>
                <a:gd name="T63" fmla="*/ 2147483647 h 1016"/>
                <a:gd name="T64" fmla="*/ 2147483647 w 666"/>
                <a:gd name="T65" fmla="*/ 2147483647 h 1016"/>
                <a:gd name="T66" fmla="*/ 2147483647 w 666"/>
                <a:gd name="T67" fmla="*/ 2147483647 h 1016"/>
                <a:gd name="T68" fmla="*/ 2147483647 w 666"/>
                <a:gd name="T69" fmla="*/ 2147483647 h 1016"/>
                <a:gd name="T70" fmla="*/ 2147483647 w 666"/>
                <a:gd name="T71" fmla="*/ 2147483647 h 1016"/>
                <a:gd name="T72" fmla="*/ 2147483647 w 666"/>
                <a:gd name="T73" fmla="*/ 2147483647 h 1016"/>
                <a:gd name="T74" fmla="*/ 2147483647 w 666"/>
                <a:gd name="T75" fmla="*/ 2147483647 h 1016"/>
                <a:gd name="T76" fmla="*/ 2147483647 w 666"/>
                <a:gd name="T77" fmla="*/ 2147483647 h 1016"/>
                <a:gd name="T78" fmla="*/ 2147483647 w 666"/>
                <a:gd name="T79" fmla="*/ 2147483647 h 1016"/>
                <a:gd name="T80" fmla="*/ 2147483647 w 666"/>
                <a:gd name="T81" fmla="*/ 2147483647 h 1016"/>
                <a:gd name="T82" fmla="*/ 2147483647 w 666"/>
                <a:gd name="T83" fmla="*/ 2147483647 h 1016"/>
                <a:gd name="T84" fmla="*/ 2147483647 w 666"/>
                <a:gd name="T85" fmla="*/ 2147483647 h 1016"/>
                <a:gd name="T86" fmla="*/ 2147483647 w 666"/>
                <a:gd name="T87" fmla="*/ 2147483647 h 1016"/>
                <a:gd name="T88" fmla="*/ 2147483647 w 666"/>
                <a:gd name="T89" fmla="*/ 2147483647 h 1016"/>
                <a:gd name="T90" fmla="*/ 2147483647 w 666"/>
                <a:gd name="T91" fmla="*/ 2147483647 h 1016"/>
                <a:gd name="T92" fmla="*/ 2147483647 w 666"/>
                <a:gd name="T93" fmla="*/ 2147483647 h 1016"/>
                <a:gd name="T94" fmla="*/ 2147483647 w 666"/>
                <a:gd name="T95" fmla="*/ 2147483647 h 10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6"/>
                <a:gd name="T145" fmla="*/ 0 h 1016"/>
                <a:gd name="T146" fmla="*/ 666 w 666"/>
                <a:gd name="T147" fmla="*/ 1016 h 101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6" h="1016">
                  <a:moveTo>
                    <a:pt x="329" y="128"/>
                  </a:moveTo>
                  <a:lnTo>
                    <a:pt x="354" y="104"/>
                  </a:lnTo>
                  <a:lnTo>
                    <a:pt x="337" y="96"/>
                  </a:lnTo>
                  <a:lnTo>
                    <a:pt x="388" y="64"/>
                  </a:lnTo>
                  <a:lnTo>
                    <a:pt x="413" y="56"/>
                  </a:lnTo>
                  <a:lnTo>
                    <a:pt x="421" y="24"/>
                  </a:lnTo>
                  <a:lnTo>
                    <a:pt x="320" y="16"/>
                  </a:lnTo>
                  <a:lnTo>
                    <a:pt x="287" y="0"/>
                  </a:lnTo>
                  <a:lnTo>
                    <a:pt x="270" y="24"/>
                  </a:lnTo>
                  <a:lnTo>
                    <a:pt x="253" y="40"/>
                  </a:lnTo>
                  <a:lnTo>
                    <a:pt x="245" y="56"/>
                  </a:lnTo>
                  <a:lnTo>
                    <a:pt x="253" y="80"/>
                  </a:lnTo>
                  <a:lnTo>
                    <a:pt x="219" y="88"/>
                  </a:lnTo>
                  <a:lnTo>
                    <a:pt x="202" y="104"/>
                  </a:lnTo>
                  <a:lnTo>
                    <a:pt x="202" y="136"/>
                  </a:lnTo>
                  <a:lnTo>
                    <a:pt x="202" y="160"/>
                  </a:lnTo>
                  <a:lnTo>
                    <a:pt x="186" y="184"/>
                  </a:lnTo>
                  <a:lnTo>
                    <a:pt x="169" y="200"/>
                  </a:lnTo>
                  <a:lnTo>
                    <a:pt x="135" y="248"/>
                  </a:lnTo>
                  <a:lnTo>
                    <a:pt x="160" y="256"/>
                  </a:lnTo>
                  <a:lnTo>
                    <a:pt x="202" y="232"/>
                  </a:lnTo>
                  <a:lnTo>
                    <a:pt x="186" y="264"/>
                  </a:lnTo>
                  <a:lnTo>
                    <a:pt x="177" y="296"/>
                  </a:lnTo>
                  <a:lnTo>
                    <a:pt x="169" y="320"/>
                  </a:lnTo>
                  <a:lnTo>
                    <a:pt x="143" y="376"/>
                  </a:lnTo>
                  <a:lnTo>
                    <a:pt x="169" y="376"/>
                  </a:lnTo>
                  <a:lnTo>
                    <a:pt x="186" y="344"/>
                  </a:lnTo>
                  <a:lnTo>
                    <a:pt x="202" y="304"/>
                  </a:lnTo>
                  <a:lnTo>
                    <a:pt x="211" y="328"/>
                  </a:lnTo>
                  <a:lnTo>
                    <a:pt x="228" y="320"/>
                  </a:lnTo>
                  <a:lnTo>
                    <a:pt x="219" y="344"/>
                  </a:lnTo>
                  <a:lnTo>
                    <a:pt x="228" y="360"/>
                  </a:lnTo>
                  <a:lnTo>
                    <a:pt x="186" y="424"/>
                  </a:lnTo>
                  <a:lnTo>
                    <a:pt x="194" y="472"/>
                  </a:lnTo>
                  <a:lnTo>
                    <a:pt x="202" y="440"/>
                  </a:lnTo>
                  <a:lnTo>
                    <a:pt x="236" y="464"/>
                  </a:lnTo>
                  <a:lnTo>
                    <a:pt x="253" y="456"/>
                  </a:lnTo>
                  <a:lnTo>
                    <a:pt x="278" y="464"/>
                  </a:lnTo>
                  <a:lnTo>
                    <a:pt x="303" y="448"/>
                  </a:lnTo>
                  <a:lnTo>
                    <a:pt x="329" y="456"/>
                  </a:lnTo>
                  <a:lnTo>
                    <a:pt x="295" y="480"/>
                  </a:lnTo>
                  <a:lnTo>
                    <a:pt x="287" y="496"/>
                  </a:lnTo>
                  <a:lnTo>
                    <a:pt x="312" y="544"/>
                  </a:lnTo>
                  <a:lnTo>
                    <a:pt x="329" y="544"/>
                  </a:lnTo>
                  <a:lnTo>
                    <a:pt x="329" y="576"/>
                  </a:lnTo>
                  <a:lnTo>
                    <a:pt x="320" y="576"/>
                  </a:lnTo>
                  <a:lnTo>
                    <a:pt x="312" y="632"/>
                  </a:lnTo>
                  <a:lnTo>
                    <a:pt x="295" y="648"/>
                  </a:lnTo>
                  <a:lnTo>
                    <a:pt x="287" y="640"/>
                  </a:lnTo>
                  <a:lnTo>
                    <a:pt x="236" y="640"/>
                  </a:lnTo>
                  <a:lnTo>
                    <a:pt x="202" y="624"/>
                  </a:lnTo>
                  <a:lnTo>
                    <a:pt x="186" y="632"/>
                  </a:lnTo>
                  <a:lnTo>
                    <a:pt x="202" y="648"/>
                  </a:lnTo>
                  <a:lnTo>
                    <a:pt x="160" y="680"/>
                  </a:lnTo>
                  <a:lnTo>
                    <a:pt x="177" y="688"/>
                  </a:lnTo>
                  <a:lnTo>
                    <a:pt x="202" y="680"/>
                  </a:lnTo>
                  <a:lnTo>
                    <a:pt x="211" y="744"/>
                  </a:lnTo>
                  <a:lnTo>
                    <a:pt x="169" y="760"/>
                  </a:lnTo>
                  <a:lnTo>
                    <a:pt x="143" y="768"/>
                  </a:lnTo>
                  <a:lnTo>
                    <a:pt x="101" y="776"/>
                  </a:lnTo>
                  <a:lnTo>
                    <a:pt x="84" y="784"/>
                  </a:lnTo>
                  <a:lnTo>
                    <a:pt x="93" y="792"/>
                  </a:lnTo>
                  <a:lnTo>
                    <a:pt x="101" y="808"/>
                  </a:lnTo>
                  <a:lnTo>
                    <a:pt x="135" y="824"/>
                  </a:lnTo>
                  <a:lnTo>
                    <a:pt x="152" y="808"/>
                  </a:lnTo>
                  <a:lnTo>
                    <a:pt x="169" y="824"/>
                  </a:lnTo>
                  <a:lnTo>
                    <a:pt x="160" y="840"/>
                  </a:lnTo>
                  <a:lnTo>
                    <a:pt x="194" y="840"/>
                  </a:lnTo>
                  <a:lnTo>
                    <a:pt x="219" y="864"/>
                  </a:lnTo>
                  <a:lnTo>
                    <a:pt x="261" y="864"/>
                  </a:lnTo>
                  <a:lnTo>
                    <a:pt x="278" y="856"/>
                  </a:lnTo>
                  <a:lnTo>
                    <a:pt x="295" y="848"/>
                  </a:lnTo>
                  <a:lnTo>
                    <a:pt x="270" y="872"/>
                  </a:lnTo>
                  <a:lnTo>
                    <a:pt x="261" y="888"/>
                  </a:lnTo>
                  <a:lnTo>
                    <a:pt x="228" y="896"/>
                  </a:lnTo>
                  <a:lnTo>
                    <a:pt x="160" y="888"/>
                  </a:lnTo>
                  <a:lnTo>
                    <a:pt x="152" y="896"/>
                  </a:lnTo>
                  <a:lnTo>
                    <a:pt x="127" y="904"/>
                  </a:lnTo>
                  <a:lnTo>
                    <a:pt x="110" y="928"/>
                  </a:lnTo>
                  <a:lnTo>
                    <a:pt x="42" y="976"/>
                  </a:lnTo>
                  <a:lnTo>
                    <a:pt x="0" y="984"/>
                  </a:lnTo>
                  <a:lnTo>
                    <a:pt x="9" y="992"/>
                  </a:lnTo>
                  <a:lnTo>
                    <a:pt x="34" y="992"/>
                  </a:lnTo>
                  <a:lnTo>
                    <a:pt x="51" y="1016"/>
                  </a:lnTo>
                  <a:lnTo>
                    <a:pt x="68" y="1008"/>
                  </a:lnTo>
                  <a:lnTo>
                    <a:pt x="68" y="992"/>
                  </a:lnTo>
                  <a:lnTo>
                    <a:pt x="93" y="976"/>
                  </a:lnTo>
                  <a:lnTo>
                    <a:pt x="143" y="976"/>
                  </a:lnTo>
                  <a:lnTo>
                    <a:pt x="169" y="1008"/>
                  </a:lnTo>
                  <a:lnTo>
                    <a:pt x="219" y="960"/>
                  </a:lnTo>
                  <a:lnTo>
                    <a:pt x="261" y="952"/>
                  </a:lnTo>
                  <a:lnTo>
                    <a:pt x="295" y="976"/>
                  </a:lnTo>
                  <a:lnTo>
                    <a:pt x="337" y="984"/>
                  </a:lnTo>
                  <a:lnTo>
                    <a:pt x="346" y="968"/>
                  </a:lnTo>
                  <a:lnTo>
                    <a:pt x="388" y="968"/>
                  </a:lnTo>
                  <a:lnTo>
                    <a:pt x="421" y="968"/>
                  </a:lnTo>
                  <a:lnTo>
                    <a:pt x="472" y="968"/>
                  </a:lnTo>
                  <a:lnTo>
                    <a:pt x="506" y="984"/>
                  </a:lnTo>
                  <a:lnTo>
                    <a:pt x="573" y="968"/>
                  </a:lnTo>
                  <a:lnTo>
                    <a:pt x="590" y="952"/>
                  </a:lnTo>
                  <a:lnTo>
                    <a:pt x="624" y="952"/>
                  </a:lnTo>
                  <a:lnTo>
                    <a:pt x="624" y="928"/>
                  </a:lnTo>
                  <a:lnTo>
                    <a:pt x="565" y="912"/>
                  </a:lnTo>
                  <a:lnTo>
                    <a:pt x="590" y="896"/>
                  </a:lnTo>
                  <a:lnTo>
                    <a:pt x="590" y="872"/>
                  </a:lnTo>
                  <a:lnTo>
                    <a:pt x="624" y="872"/>
                  </a:lnTo>
                  <a:lnTo>
                    <a:pt x="624" y="856"/>
                  </a:lnTo>
                  <a:lnTo>
                    <a:pt x="649" y="840"/>
                  </a:lnTo>
                  <a:lnTo>
                    <a:pt x="657" y="816"/>
                  </a:lnTo>
                  <a:lnTo>
                    <a:pt x="666" y="800"/>
                  </a:lnTo>
                  <a:lnTo>
                    <a:pt x="666" y="760"/>
                  </a:lnTo>
                  <a:lnTo>
                    <a:pt x="582" y="728"/>
                  </a:lnTo>
                  <a:lnTo>
                    <a:pt x="565" y="744"/>
                  </a:lnTo>
                  <a:lnTo>
                    <a:pt x="539" y="728"/>
                  </a:lnTo>
                  <a:lnTo>
                    <a:pt x="573" y="704"/>
                  </a:lnTo>
                  <a:lnTo>
                    <a:pt x="556" y="656"/>
                  </a:lnTo>
                  <a:lnTo>
                    <a:pt x="523" y="632"/>
                  </a:lnTo>
                  <a:lnTo>
                    <a:pt x="548" y="632"/>
                  </a:lnTo>
                  <a:lnTo>
                    <a:pt x="539" y="592"/>
                  </a:lnTo>
                  <a:lnTo>
                    <a:pt x="539" y="576"/>
                  </a:lnTo>
                  <a:lnTo>
                    <a:pt x="531" y="560"/>
                  </a:lnTo>
                  <a:lnTo>
                    <a:pt x="523" y="536"/>
                  </a:lnTo>
                  <a:lnTo>
                    <a:pt x="480" y="512"/>
                  </a:lnTo>
                  <a:lnTo>
                    <a:pt x="472" y="480"/>
                  </a:lnTo>
                  <a:lnTo>
                    <a:pt x="455" y="440"/>
                  </a:lnTo>
                  <a:lnTo>
                    <a:pt x="455" y="392"/>
                  </a:lnTo>
                  <a:lnTo>
                    <a:pt x="447" y="376"/>
                  </a:lnTo>
                  <a:lnTo>
                    <a:pt x="421" y="352"/>
                  </a:lnTo>
                  <a:lnTo>
                    <a:pt x="413" y="344"/>
                  </a:lnTo>
                  <a:lnTo>
                    <a:pt x="396" y="328"/>
                  </a:lnTo>
                  <a:lnTo>
                    <a:pt x="362" y="328"/>
                  </a:lnTo>
                  <a:lnTo>
                    <a:pt x="337" y="320"/>
                  </a:lnTo>
                  <a:lnTo>
                    <a:pt x="371" y="312"/>
                  </a:lnTo>
                  <a:lnTo>
                    <a:pt x="396" y="304"/>
                  </a:lnTo>
                  <a:lnTo>
                    <a:pt x="388" y="280"/>
                  </a:lnTo>
                  <a:lnTo>
                    <a:pt x="421" y="264"/>
                  </a:lnTo>
                  <a:lnTo>
                    <a:pt x="421" y="248"/>
                  </a:lnTo>
                  <a:lnTo>
                    <a:pt x="447" y="224"/>
                  </a:lnTo>
                  <a:lnTo>
                    <a:pt x="455" y="192"/>
                  </a:lnTo>
                  <a:lnTo>
                    <a:pt x="489" y="168"/>
                  </a:lnTo>
                  <a:lnTo>
                    <a:pt x="489" y="144"/>
                  </a:lnTo>
                  <a:lnTo>
                    <a:pt x="447" y="144"/>
                  </a:lnTo>
                  <a:lnTo>
                    <a:pt x="430" y="128"/>
                  </a:lnTo>
                  <a:lnTo>
                    <a:pt x="379" y="120"/>
                  </a:lnTo>
                  <a:lnTo>
                    <a:pt x="329" y="12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33" name="Freeform 12"/>
            <p:cNvSpPr>
              <a:spLocks/>
            </p:cNvSpPr>
            <p:nvPr/>
          </p:nvSpPr>
          <p:spPr bwMode="auto">
            <a:xfrm>
              <a:off x="3251200" y="3160713"/>
              <a:ext cx="247650" cy="173038"/>
            </a:xfrm>
            <a:custGeom>
              <a:avLst/>
              <a:gdLst>
                <a:gd name="T0" fmla="*/ 2147483647 w 202"/>
                <a:gd name="T1" fmla="*/ 2147483647 h 144"/>
                <a:gd name="T2" fmla="*/ 2147483647 w 202"/>
                <a:gd name="T3" fmla="*/ 2147483647 h 144"/>
                <a:gd name="T4" fmla="*/ 2147483647 w 202"/>
                <a:gd name="T5" fmla="*/ 2147483647 h 144"/>
                <a:gd name="T6" fmla="*/ 2147483647 w 202"/>
                <a:gd name="T7" fmla="*/ 0 h 144"/>
                <a:gd name="T8" fmla="*/ 2147483647 w 202"/>
                <a:gd name="T9" fmla="*/ 0 h 144"/>
                <a:gd name="T10" fmla="*/ 2147483647 w 202"/>
                <a:gd name="T11" fmla="*/ 0 h 144"/>
                <a:gd name="T12" fmla="*/ 2147483647 w 202"/>
                <a:gd name="T13" fmla="*/ 0 h 144"/>
                <a:gd name="T14" fmla="*/ 2147483647 w 202"/>
                <a:gd name="T15" fmla="*/ 2147483647 h 144"/>
                <a:gd name="T16" fmla="*/ 2147483647 w 202"/>
                <a:gd name="T17" fmla="*/ 0 h 144"/>
                <a:gd name="T18" fmla="*/ 2147483647 w 202"/>
                <a:gd name="T19" fmla="*/ 2147483647 h 144"/>
                <a:gd name="T20" fmla="*/ 2147483647 w 202"/>
                <a:gd name="T21" fmla="*/ 2147483647 h 144"/>
                <a:gd name="T22" fmla="*/ 2147483647 w 202"/>
                <a:gd name="T23" fmla="*/ 2147483647 h 144"/>
                <a:gd name="T24" fmla="*/ 2147483647 w 202"/>
                <a:gd name="T25" fmla="*/ 2147483647 h 144"/>
                <a:gd name="T26" fmla="*/ 2147483647 w 202"/>
                <a:gd name="T27" fmla="*/ 2147483647 h 144"/>
                <a:gd name="T28" fmla="*/ 0 w 202"/>
                <a:gd name="T29" fmla="*/ 2147483647 h 144"/>
                <a:gd name="T30" fmla="*/ 2147483647 w 202"/>
                <a:gd name="T31" fmla="*/ 2147483647 h 144"/>
                <a:gd name="T32" fmla="*/ 2147483647 w 202"/>
                <a:gd name="T33" fmla="*/ 2147483647 h 144"/>
                <a:gd name="T34" fmla="*/ 2147483647 w 202"/>
                <a:gd name="T35" fmla="*/ 2147483647 h 144"/>
                <a:gd name="T36" fmla="*/ 2147483647 w 202"/>
                <a:gd name="T37" fmla="*/ 2147483647 h 144"/>
                <a:gd name="T38" fmla="*/ 2147483647 w 202"/>
                <a:gd name="T39" fmla="*/ 2147483647 h 144"/>
                <a:gd name="T40" fmla="*/ 2147483647 w 202"/>
                <a:gd name="T41" fmla="*/ 2147483647 h 144"/>
                <a:gd name="T42" fmla="*/ 2147483647 w 202"/>
                <a:gd name="T43" fmla="*/ 2147483647 h 144"/>
                <a:gd name="T44" fmla="*/ 2147483647 w 202"/>
                <a:gd name="T45" fmla="*/ 2147483647 h 144"/>
                <a:gd name="T46" fmla="*/ 2147483647 w 202"/>
                <a:gd name="T47" fmla="*/ 2147483647 h 144"/>
                <a:gd name="T48" fmla="*/ 2147483647 w 202"/>
                <a:gd name="T49" fmla="*/ 2147483647 h 144"/>
                <a:gd name="T50" fmla="*/ 2147483647 w 202"/>
                <a:gd name="T51" fmla="*/ 2147483647 h 144"/>
                <a:gd name="T52" fmla="*/ 2147483647 w 202"/>
                <a:gd name="T53" fmla="*/ 2147483647 h 1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2"/>
                <a:gd name="T82" fmla="*/ 0 h 144"/>
                <a:gd name="T83" fmla="*/ 202 w 202"/>
                <a:gd name="T84" fmla="*/ 144 h 14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2" h="144">
                  <a:moveTo>
                    <a:pt x="185" y="72"/>
                  </a:moveTo>
                  <a:lnTo>
                    <a:pt x="177" y="48"/>
                  </a:lnTo>
                  <a:lnTo>
                    <a:pt x="177" y="16"/>
                  </a:lnTo>
                  <a:lnTo>
                    <a:pt x="151" y="0"/>
                  </a:lnTo>
                  <a:lnTo>
                    <a:pt x="126" y="0"/>
                  </a:lnTo>
                  <a:lnTo>
                    <a:pt x="109" y="0"/>
                  </a:lnTo>
                  <a:lnTo>
                    <a:pt x="84" y="0"/>
                  </a:lnTo>
                  <a:lnTo>
                    <a:pt x="84" y="8"/>
                  </a:lnTo>
                  <a:lnTo>
                    <a:pt x="84" y="0"/>
                  </a:lnTo>
                  <a:lnTo>
                    <a:pt x="67" y="8"/>
                  </a:lnTo>
                  <a:lnTo>
                    <a:pt x="59" y="24"/>
                  </a:lnTo>
                  <a:lnTo>
                    <a:pt x="50" y="40"/>
                  </a:lnTo>
                  <a:lnTo>
                    <a:pt x="16" y="40"/>
                  </a:lnTo>
                  <a:lnTo>
                    <a:pt x="16" y="56"/>
                  </a:lnTo>
                  <a:lnTo>
                    <a:pt x="0" y="72"/>
                  </a:lnTo>
                  <a:lnTo>
                    <a:pt x="33" y="120"/>
                  </a:lnTo>
                  <a:lnTo>
                    <a:pt x="67" y="96"/>
                  </a:lnTo>
                  <a:lnTo>
                    <a:pt x="92" y="112"/>
                  </a:lnTo>
                  <a:lnTo>
                    <a:pt x="101" y="136"/>
                  </a:lnTo>
                  <a:lnTo>
                    <a:pt x="118" y="136"/>
                  </a:lnTo>
                  <a:lnTo>
                    <a:pt x="134" y="144"/>
                  </a:lnTo>
                  <a:lnTo>
                    <a:pt x="143" y="144"/>
                  </a:lnTo>
                  <a:lnTo>
                    <a:pt x="168" y="128"/>
                  </a:lnTo>
                  <a:lnTo>
                    <a:pt x="193" y="120"/>
                  </a:lnTo>
                  <a:lnTo>
                    <a:pt x="202" y="88"/>
                  </a:lnTo>
                  <a:lnTo>
                    <a:pt x="185" y="72"/>
                  </a:lnTo>
                  <a:close/>
                </a:path>
              </a:pathLst>
            </a:custGeom>
            <a:solidFill>
              <a:schemeClr val="bg1"/>
            </a:solidFill>
            <a:ln w="12700">
              <a:solidFill>
                <a:srgbClr val="000000"/>
              </a:solidFill>
              <a:round/>
              <a:headEnd/>
              <a:tailEnd/>
            </a:ln>
          </p:spPr>
          <p:txBody>
            <a:bodyPr/>
            <a:lstStyle/>
            <a:p>
              <a:endParaRPr lang="en-US"/>
            </a:p>
          </p:txBody>
        </p:sp>
        <p:sp>
          <p:nvSpPr>
            <p:cNvPr id="34834" name="Freeform 13"/>
            <p:cNvSpPr>
              <a:spLocks/>
            </p:cNvSpPr>
            <p:nvPr/>
          </p:nvSpPr>
          <p:spPr bwMode="auto">
            <a:xfrm>
              <a:off x="3313113" y="2709863"/>
              <a:ext cx="814388" cy="1217613"/>
            </a:xfrm>
            <a:custGeom>
              <a:avLst/>
              <a:gdLst>
                <a:gd name="T0" fmla="*/ 2147483647 w 666"/>
                <a:gd name="T1" fmla="*/ 2147483647 h 1016"/>
                <a:gd name="T2" fmla="*/ 2147483647 w 666"/>
                <a:gd name="T3" fmla="*/ 2147483647 h 1016"/>
                <a:gd name="T4" fmla="*/ 2147483647 w 666"/>
                <a:gd name="T5" fmla="*/ 2147483647 h 1016"/>
                <a:gd name="T6" fmla="*/ 2147483647 w 666"/>
                <a:gd name="T7" fmla="*/ 2147483647 h 1016"/>
                <a:gd name="T8" fmla="*/ 2147483647 w 666"/>
                <a:gd name="T9" fmla="*/ 2147483647 h 1016"/>
                <a:gd name="T10" fmla="*/ 2147483647 w 666"/>
                <a:gd name="T11" fmla="*/ 2147483647 h 1016"/>
                <a:gd name="T12" fmla="*/ 2147483647 w 666"/>
                <a:gd name="T13" fmla="*/ 2147483647 h 1016"/>
                <a:gd name="T14" fmla="*/ 2147483647 w 666"/>
                <a:gd name="T15" fmla="*/ 2147483647 h 1016"/>
                <a:gd name="T16" fmla="*/ 2147483647 w 666"/>
                <a:gd name="T17" fmla="*/ 2147483647 h 1016"/>
                <a:gd name="T18" fmla="*/ 2147483647 w 666"/>
                <a:gd name="T19" fmla="*/ 2147483647 h 1016"/>
                <a:gd name="T20" fmla="*/ 2147483647 w 666"/>
                <a:gd name="T21" fmla="*/ 2147483647 h 1016"/>
                <a:gd name="T22" fmla="*/ 2147483647 w 666"/>
                <a:gd name="T23" fmla="*/ 2147483647 h 1016"/>
                <a:gd name="T24" fmla="*/ 2147483647 w 666"/>
                <a:gd name="T25" fmla="*/ 2147483647 h 1016"/>
                <a:gd name="T26" fmla="*/ 2147483647 w 666"/>
                <a:gd name="T27" fmla="*/ 2147483647 h 1016"/>
                <a:gd name="T28" fmla="*/ 2147483647 w 666"/>
                <a:gd name="T29" fmla="*/ 2147483647 h 1016"/>
                <a:gd name="T30" fmla="*/ 2147483647 w 666"/>
                <a:gd name="T31" fmla="*/ 2147483647 h 1016"/>
                <a:gd name="T32" fmla="*/ 2147483647 w 666"/>
                <a:gd name="T33" fmla="*/ 2147483647 h 1016"/>
                <a:gd name="T34" fmla="*/ 2147483647 w 666"/>
                <a:gd name="T35" fmla="*/ 2147483647 h 1016"/>
                <a:gd name="T36" fmla="*/ 2147483647 w 666"/>
                <a:gd name="T37" fmla="*/ 2147483647 h 1016"/>
                <a:gd name="T38" fmla="*/ 2147483647 w 666"/>
                <a:gd name="T39" fmla="*/ 2147483647 h 1016"/>
                <a:gd name="T40" fmla="*/ 2147483647 w 666"/>
                <a:gd name="T41" fmla="*/ 2147483647 h 1016"/>
                <a:gd name="T42" fmla="*/ 2147483647 w 666"/>
                <a:gd name="T43" fmla="*/ 2147483647 h 1016"/>
                <a:gd name="T44" fmla="*/ 2147483647 w 666"/>
                <a:gd name="T45" fmla="*/ 2147483647 h 1016"/>
                <a:gd name="T46" fmla="*/ 2147483647 w 666"/>
                <a:gd name="T47" fmla="*/ 2147483647 h 1016"/>
                <a:gd name="T48" fmla="*/ 2147483647 w 666"/>
                <a:gd name="T49" fmla="*/ 2147483647 h 1016"/>
                <a:gd name="T50" fmla="*/ 2147483647 w 666"/>
                <a:gd name="T51" fmla="*/ 2147483647 h 1016"/>
                <a:gd name="T52" fmla="*/ 0 w 666"/>
                <a:gd name="T53" fmla="*/ 2147483647 h 1016"/>
                <a:gd name="T54" fmla="*/ 2147483647 w 666"/>
                <a:gd name="T55" fmla="*/ 2147483647 h 1016"/>
                <a:gd name="T56" fmla="*/ 2147483647 w 666"/>
                <a:gd name="T57" fmla="*/ 2147483647 h 1016"/>
                <a:gd name="T58" fmla="*/ 2147483647 w 666"/>
                <a:gd name="T59" fmla="*/ 2147483647 h 1016"/>
                <a:gd name="T60" fmla="*/ 2147483647 w 666"/>
                <a:gd name="T61" fmla="*/ 2147483647 h 1016"/>
                <a:gd name="T62" fmla="*/ 2147483647 w 666"/>
                <a:gd name="T63" fmla="*/ 2147483647 h 1016"/>
                <a:gd name="T64" fmla="*/ 2147483647 w 666"/>
                <a:gd name="T65" fmla="*/ 2147483647 h 1016"/>
                <a:gd name="T66" fmla="*/ 2147483647 w 666"/>
                <a:gd name="T67" fmla="*/ 2147483647 h 1016"/>
                <a:gd name="T68" fmla="*/ 2147483647 w 666"/>
                <a:gd name="T69" fmla="*/ 2147483647 h 1016"/>
                <a:gd name="T70" fmla="*/ 2147483647 w 666"/>
                <a:gd name="T71" fmla="*/ 2147483647 h 1016"/>
                <a:gd name="T72" fmla="*/ 2147483647 w 666"/>
                <a:gd name="T73" fmla="*/ 2147483647 h 1016"/>
                <a:gd name="T74" fmla="*/ 2147483647 w 666"/>
                <a:gd name="T75" fmla="*/ 2147483647 h 1016"/>
                <a:gd name="T76" fmla="*/ 2147483647 w 666"/>
                <a:gd name="T77" fmla="*/ 2147483647 h 1016"/>
                <a:gd name="T78" fmla="*/ 2147483647 w 666"/>
                <a:gd name="T79" fmla="*/ 2147483647 h 1016"/>
                <a:gd name="T80" fmla="*/ 2147483647 w 666"/>
                <a:gd name="T81" fmla="*/ 2147483647 h 1016"/>
                <a:gd name="T82" fmla="*/ 2147483647 w 666"/>
                <a:gd name="T83" fmla="*/ 2147483647 h 1016"/>
                <a:gd name="T84" fmla="*/ 2147483647 w 666"/>
                <a:gd name="T85" fmla="*/ 2147483647 h 1016"/>
                <a:gd name="T86" fmla="*/ 2147483647 w 666"/>
                <a:gd name="T87" fmla="*/ 2147483647 h 1016"/>
                <a:gd name="T88" fmla="*/ 2147483647 w 666"/>
                <a:gd name="T89" fmla="*/ 2147483647 h 1016"/>
                <a:gd name="T90" fmla="*/ 2147483647 w 666"/>
                <a:gd name="T91" fmla="*/ 2147483647 h 1016"/>
                <a:gd name="T92" fmla="*/ 2147483647 w 666"/>
                <a:gd name="T93" fmla="*/ 2147483647 h 1016"/>
                <a:gd name="T94" fmla="*/ 2147483647 w 666"/>
                <a:gd name="T95" fmla="*/ 2147483647 h 10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6"/>
                <a:gd name="T145" fmla="*/ 0 h 1016"/>
                <a:gd name="T146" fmla="*/ 666 w 666"/>
                <a:gd name="T147" fmla="*/ 1016 h 101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6" h="1016">
                  <a:moveTo>
                    <a:pt x="329" y="128"/>
                  </a:moveTo>
                  <a:lnTo>
                    <a:pt x="354" y="104"/>
                  </a:lnTo>
                  <a:lnTo>
                    <a:pt x="337" y="96"/>
                  </a:lnTo>
                  <a:lnTo>
                    <a:pt x="388" y="64"/>
                  </a:lnTo>
                  <a:lnTo>
                    <a:pt x="413" y="56"/>
                  </a:lnTo>
                  <a:lnTo>
                    <a:pt x="421" y="24"/>
                  </a:lnTo>
                  <a:lnTo>
                    <a:pt x="320" y="16"/>
                  </a:lnTo>
                  <a:lnTo>
                    <a:pt x="287" y="0"/>
                  </a:lnTo>
                  <a:lnTo>
                    <a:pt x="270" y="24"/>
                  </a:lnTo>
                  <a:lnTo>
                    <a:pt x="253" y="40"/>
                  </a:lnTo>
                  <a:lnTo>
                    <a:pt x="245" y="56"/>
                  </a:lnTo>
                  <a:lnTo>
                    <a:pt x="253" y="80"/>
                  </a:lnTo>
                  <a:lnTo>
                    <a:pt x="219" y="88"/>
                  </a:lnTo>
                  <a:lnTo>
                    <a:pt x="202" y="104"/>
                  </a:lnTo>
                  <a:lnTo>
                    <a:pt x="202" y="136"/>
                  </a:lnTo>
                  <a:lnTo>
                    <a:pt x="202" y="160"/>
                  </a:lnTo>
                  <a:lnTo>
                    <a:pt x="186" y="184"/>
                  </a:lnTo>
                  <a:lnTo>
                    <a:pt x="169" y="200"/>
                  </a:lnTo>
                  <a:lnTo>
                    <a:pt x="135" y="248"/>
                  </a:lnTo>
                  <a:lnTo>
                    <a:pt x="160" y="256"/>
                  </a:lnTo>
                  <a:lnTo>
                    <a:pt x="202" y="232"/>
                  </a:lnTo>
                  <a:lnTo>
                    <a:pt x="186" y="264"/>
                  </a:lnTo>
                  <a:lnTo>
                    <a:pt x="177" y="296"/>
                  </a:lnTo>
                  <a:lnTo>
                    <a:pt x="169" y="320"/>
                  </a:lnTo>
                  <a:lnTo>
                    <a:pt x="143" y="376"/>
                  </a:lnTo>
                  <a:lnTo>
                    <a:pt x="169" y="376"/>
                  </a:lnTo>
                  <a:lnTo>
                    <a:pt x="186" y="344"/>
                  </a:lnTo>
                  <a:lnTo>
                    <a:pt x="202" y="304"/>
                  </a:lnTo>
                  <a:lnTo>
                    <a:pt x="211" y="328"/>
                  </a:lnTo>
                  <a:lnTo>
                    <a:pt x="228" y="320"/>
                  </a:lnTo>
                  <a:lnTo>
                    <a:pt x="219" y="344"/>
                  </a:lnTo>
                  <a:lnTo>
                    <a:pt x="228" y="360"/>
                  </a:lnTo>
                  <a:lnTo>
                    <a:pt x="186" y="424"/>
                  </a:lnTo>
                  <a:lnTo>
                    <a:pt x="194" y="472"/>
                  </a:lnTo>
                  <a:lnTo>
                    <a:pt x="202" y="440"/>
                  </a:lnTo>
                  <a:lnTo>
                    <a:pt x="236" y="464"/>
                  </a:lnTo>
                  <a:lnTo>
                    <a:pt x="253" y="456"/>
                  </a:lnTo>
                  <a:lnTo>
                    <a:pt x="278" y="464"/>
                  </a:lnTo>
                  <a:lnTo>
                    <a:pt x="303" y="448"/>
                  </a:lnTo>
                  <a:lnTo>
                    <a:pt x="329" y="456"/>
                  </a:lnTo>
                  <a:lnTo>
                    <a:pt x="295" y="480"/>
                  </a:lnTo>
                  <a:lnTo>
                    <a:pt x="287" y="496"/>
                  </a:lnTo>
                  <a:lnTo>
                    <a:pt x="312" y="544"/>
                  </a:lnTo>
                  <a:lnTo>
                    <a:pt x="329" y="544"/>
                  </a:lnTo>
                  <a:lnTo>
                    <a:pt x="329" y="576"/>
                  </a:lnTo>
                  <a:lnTo>
                    <a:pt x="320" y="576"/>
                  </a:lnTo>
                  <a:lnTo>
                    <a:pt x="312" y="632"/>
                  </a:lnTo>
                  <a:lnTo>
                    <a:pt x="295" y="648"/>
                  </a:lnTo>
                  <a:lnTo>
                    <a:pt x="287" y="640"/>
                  </a:lnTo>
                  <a:lnTo>
                    <a:pt x="236" y="640"/>
                  </a:lnTo>
                  <a:lnTo>
                    <a:pt x="202" y="624"/>
                  </a:lnTo>
                  <a:lnTo>
                    <a:pt x="186" y="632"/>
                  </a:lnTo>
                  <a:lnTo>
                    <a:pt x="202" y="648"/>
                  </a:lnTo>
                  <a:lnTo>
                    <a:pt x="160" y="680"/>
                  </a:lnTo>
                  <a:lnTo>
                    <a:pt x="177" y="688"/>
                  </a:lnTo>
                  <a:lnTo>
                    <a:pt x="202" y="680"/>
                  </a:lnTo>
                  <a:lnTo>
                    <a:pt x="211" y="744"/>
                  </a:lnTo>
                  <a:lnTo>
                    <a:pt x="169" y="760"/>
                  </a:lnTo>
                  <a:lnTo>
                    <a:pt x="143" y="768"/>
                  </a:lnTo>
                  <a:lnTo>
                    <a:pt x="101" y="776"/>
                  </a:lnTo>
                  <a:lnTo>
                    <a:pt x="84" y="784"/>
                  </a:lnTo>
                  <a:lnTo>
                    <a:pt x="93" y="792"/>
                  </a:lnTo>
                  <a:lnTo>
                    <a:pt x="101" y="808"/>
                  </a:lnTo>
                  <a:lnTo>
                    <a:pt x="135" y="824"/>
                  </a:lnTo>
                  <a:lnTo>
                    <a:pt x="152" y="808"/>
                  </a:lnTo>
                  <a:lnTo>
                    <a:pt x="169" y="824"/>
                  </a:lnTo>
                  <a:lnTo>
                    <a:pt x="160" y="840"/>
                  </a:lnTo>
                  <a:lnTo>
                    <a:pt x="194" y="840"/>
                  </a:lnTo>
                  <a:lnTo>
                    <a:pt x="219" y="864"/>
                  </a:lnTo>
                  <a:lnTo>
                    <a:pt x="261" y="864"/>
                  </a:lnTo>
                  <a:lnTo>
                    <a:pt x="278" y="856"/>
                  </a:lnTo>
                  <a:lnTo>
                    <a:pt x="295" y="848"/>
                  </a:lnTo>
                  <a:lnTo>
                    <a:pt x="270" y="872"/>
                  </a:lnTo>
                  <a:lnTo>
                    <a:pt x="261" y="888"/>
                  </a:lnTo>
                  <a:lnTo>
                    <a:pt x="228" y="896"/>
                  </a:lnTo>
                  <a:lnTo>
                    <a:pt x="160" y="888"/>
                  </a:lnTo>
                  <a:lnTo>
                    <a:pt x="152" y="896"/>
                  </a:lnTo>
                  <a:lnTo>
                    <a:pt x="127" y="904"/>
                  </a:lnTo>
                  <a:lnTo>
                    <a:pt x="110" y="928"/>
                  </a:lnTo>
                  <a:lnTo>
                    <a:pt x="42" y="976"/>
                  </a:lnTo>
                  <a:lnTo>
                    <a:pt x="0" y="984"/>
                  </a:lnTo>
                  <a:lnTo>
                    <a:pt x="9" y="992"/>
                  </a:lnTo>
                  <a:lnTo>
                    <a:pt x="34" y="992"/>
                  </a:lnTo>
                  <a:lnTo>
                    <a:pt x="51" y="1016"/>
                  </a:lnTo>
                  <a:lnTo>
                    <a:pt x="68" y="1008"/>
                  </a:lnTo>
                  <a:lnTo>
                    <a:pt x="68" y="992"/>
                  </a:lnTo>
                  <a:lnTo>
                    <a:pt x="93" y="976"/>
                  </a:lnTo>
                  <a:lnTo>
                    <a:pt x="143" y="976"/>
                  </a:lnTo>
                  <a:lnTo>
                    <a:pt x="169" y="1008"/>
                  </a:lnTo>
                  <a:lnTo>
                    <a:pt x="219" y="960"/>
                  </a:lnTo>
                  <a:lnTo>
                    <a:pt x="261" y="952"/>
                  </a:lnTo>
                  <a:lnTo>
                    <a:pt x="295" y="976"/>
                  </a:lnTo>
                  <a:lnTo>
                    <a:pt x="337" y="984"/>
                  </a:lnTo>
                  <a:lnTo>
                    <a:pt x="346" y="968"/>
                  </a:lnTo>
                  <a:lnTo>
                    <a:pt x="388" y="968"/>
                  </a:lnTo>
                  <a:lnTo>
                    <a:pt x="421" y="968"/>
                  </a:lnTo>
                  <a:lnTo>
                    <a:pt x="472" y="968"/>
                  </a:lnTo>
                  <a:lnTo>
                    <a:pt x="506" y="984"/>
                  </a:lnTo>
                  <a:lnTo>
                    <a:pt x="573" y="968"/>
                  </a:lnTo>
                  <a:lnTo>
                    <a:pt x="590" y="952"/>
                  </a:lnTo>
                  <a:lnTo>
                    <a:pt x="624" y="952"/>
                  </a:lnTo>
                  <a:lnTo>
                    <a:pt x="624" y="928"/>
                  </a:lnTo>
                  <a:lnTo>
                    <a:pt x="565" y="912"/>
                  </a:lnTo>
                  <a:lnTo>
                    <a:pt x="590" y="896"/>
                  </a:lnTo>
                  <a:lnTo>
                    <a:pt x="590" y="872"/>
                  </a:lnTo>
                  <a:lnTo>
                    <a:pt x="624" y="872"/>
                  </a:lnTo>
                  <a:lnTo>
                    <a:pt x="624" y="856"/>
                  </a:lnTo>
                  <a:lnTo>
                    <a:pt x="649" y="840"/>
                  </a:lnTo>
                  <a:lnTo>
                    <a:pt x="657" y="816"/>
                  </a:lnTo>
                  <a:lnTo>
                    <a:pt x="666" y="800"/>
                  </a:lnTo>
                  <a:lnTo>
                    <a:pt x="666" y="760"/>
                  </a:lnTo>
                  <a:lnTo>
                    <a:pt x="582" y="728"/>
                  </a:lnTo>
                  <a:lnTo>
                    <a:pt x="565" y="744"/>
                  </a:lnTo>
                  <a:lnTo>
                    <a:pt x="539" y="728"/>
                  </a:lnTo>
                  <a:lnTo>
                    <a:pt x="573" y="704"/>
                  </a:lnTo>
                  <a:lnTo>
                    <a:pt x="556" y="656"/>
                  </a:lnTo>
                  <a:lnTo>
                    <a:pt x="523" y="632"/>
                  </a:lnTo>
                  <a:lnTo>
                    <a:pt x="548" y="632"/>
                  </a:lnTo>
                  <a:lnTo>
                    <a:pt x="539" y="592"/>
                  </a:lnTo>
                  <a:lnTo>
                    <a:pt x="539" y="576"/>
                  </a:lnTo>
                  <a:lnTo>
                    <a:pt x="531" y="560"/>
                  </a:lnTo>
                  <a:lnTo>
                    <a:pt x="523" y="536"/>
                  </a:lnTo>
                  <a:lnTo>
                    <a:pt x="480" y="512"/>
                  </a:lnTo>
                  <a:lnTo>
                    <a:pt x="472" y="480"/>
                  </a:lnTo>
                  <a:lnTo>
                    <a:pt x="455" y="440"/>
                  </a:lnTo>
                  <a:lnTo>
                    <a:pt x="455" y="392"/>
                  </a:lnTo>
                  <a:lnTo>
                    <a:pt x="447" y="376"/>
                  </a:lnTo>
                  <a:lnTo>
                    <a:pt x="421" y="352"/>
                  </a:lnTo>
                  <a:lnTo>
                    <a:pt x="413" y="344"/>
                  </a:lnTo>
                  <a:lnTo>
                    <a:pt x="396" y="328"/>
                  </a:lnTo>
                  <a:lnTo>
                    <a:pt x="362" y="328"/>
                  </a:lnTo>
                  <a:lnTo>
                    <a:pt x="337" y="320"/>
                  </a:lnTo>
                  <a:lnTo>
                    <a:pt x="371" y="312"/>
                  </a:lnTo>
                  <a:lnTo>
                    <a:pt x="396" y="304"/>
                  </a:lnTo>
                  <a:lnTo>
                    <a:pt x="388" y="280"/>
                  </a:lnTo>
                  <a:lnTo>
                    <a:pt x="421" y="264"/>
                  </a:lnTo>
                  <a:lnTo>
                    <a:pt x="421" y="248"/>
                  </a:lnTo>
                  <a:lnTo>
                    <a:pt x="447" y="224"/>
                  </a:lnTo>
                  <a:lnTo>
                    <a:pt x="455" y="192"/>
                  </a:lnTo>
                  <a:lnTo>
                    <a:pt x="489" y="168"/>
                  </a:lnTo>
                  <a:lnTo>
                    <a:pt x="489" y="144"/>
                  </a:lnTo>
                  <a:lnTo>
                    <a:pt x="447" y="144"/>
                  </a:lnTo>
                  <a:lnTo>
                    <a:pt x="430" y="128"/>
                  </a:lnTo>
                  <a:lnTo>
                    <a:pt x="379" y="120"/>
                  </a:lnTo>
                  <a:lnTo>
                    <a:pt x="329" y="128"/>
                  </a:lnTo>
                  <a:close/>
                </a:path>
              </a:pathLst>
            </a:custGeom>
            <a:solidFill>
              <a:schemeClr val="bg1"/>
            </a:solidFill>
            <a:ln w="12700">
              <a:solidFill>
                <a:srgbClr val="000000"/>
              </a:solidFill>
              <a:round/>
              <a:headEnd/>
              <a:tailEnd/>
            </a:ln>
          </p:spPr>
          <p:txBody>
            <a:bodyPr/>
            <a:lstStyle/>
            <a:p>
              <a:endParaRPr lang="en-US"/>
            </a:p>
          </p:txBody>
        </p:sp>
        <p:sp>
          <p:nvSpPr>
            <p:cNvPr id="34835" name="Freeform 14"/>
            <p:cNvSpPr>
              <a:spLocks/>
            </p:cNvSpPr>
            <p:nvPr/>
          </p:nvSpPr>
          <p:spPr bwMode="auto">
            <a:xfrm>
              <a:off x="2560638" y="1731963"/>
              <a:ext cx="720725" cy="508000"/>
            </a:xfrm>
            <a:custGeom>
              <a:avLst/>
              <a:gdLst>
                <a:gd name="T0" fmla="*/ 2147483647 w 590"/>
                <a:gd name="T1" fmla="*/ 2147483647 h 424"/>
                <a:gd name="T2" fmla="*/ 2147483647 w 590"/>
                <a:gd name="T3" fmla="*/ 2147483647 h 424"/>
                <a:gd name="T4" fmla="*/ 2147483647 w 590"/>
                <a:gd name="T5" fmla="*/ 2147483647 h 424"/>
                <a:gd name="T6" fmla="*/ 2147483647 w 590"/>
                <a:gd name="T7" fmla="*/ 2147483647 h 424"/>
                <a:gd name="T8" fmla="*/ 2147483647 w 590"/>
                <a:gd name="T9" fmla="*/ 2147483647 h 424"/>
                <a:gd name="T10" fmla="*/ 2147483647 w 590"/>
                <a:gd name="T11" fmla="*/ 2147483647 h 424"/>
                <a:gd name="T12" fmla="*/ 2147483647 w 590"/>
                <a:gd name="T13" fmla="*/ 2147483647 h 424"/>
                <a:gd name="T14" fmla="*/ 2147483647 w 590"/>
                <a:gd name="T15" fmla="*/ 2147483647 h 424"/>
                <a:gd name="T16" fmla="*/ 2147483647 w 590"/>
                <a:gd name="T17" fmla="*/ 2147483647 h 424"/>
                <a:gd name="T18" fmla="*/ 2147483647 w 590"/>
                <a:gd name="T19" fmla="*/ 2147483647 h 424"/>
                <a:gd name="T20" fmla="*/ 2147483647 w 590"/>
                <a:gd name="T21" fmla="*/ 2147483647 h 424"/>
                <a:gd name="T22" fmla="*/ 2147483647 w 590"/>
                <a:gd name="T23" fmla="*/ 2147483647 h 424"/>
                <a:gd name="T24" fmla="*/ 2147483647 w 590"/>
                <a:gd name="T25" fmla="*/ 2147483647 h 424"/>
                <a:gd name="T26" fmla="*/ 2147483647 w 590"/>
                <a:gd name="T27" fmla="*/ 2147483647 h 424"/>
                <a:gd name="T28" fmla="*/ 2147483647 w 590"/>
                <a:gd name="T29" fmla="*/ 2147483647 h 424"/>
                <a:gd name="T30" fmla="*/ 2147483647 w 590"/>
                <a:gd name="T31" fmla="*/ 2147483647 h 424"/>
                <a:gd name="T32" fmla="*/ 2147483647 w 590"/>
                <a:gd name="T33" fmla="*/ 2147483647 h 424"/>
                <a:gd name="T34" fmla="*/ 2147483647 w 590"/>
                <a:gd name="T35" fmla="*/ 2147483647 h 424"/>
                <a:gd name="T36" fmla="*/ 2147483647 w 590"/>
                <a:gd name="T37" fmla="*/ 2147483647 h 424"/>
                <a:gd name="T38" fmla="*/ 2147483647 w 590"/>
                <a:gd name="T39" fmla="*/ 2147483647 h 424"/>
                <a:gd name="T40" fmla="*/ 2147483647 w 590"/>
                <a:gd name="T41" fmla="*/ 2147483647 h 424"/>
                <a:gd name="T42" fmla="*/ 2147483647 w 590"/>
                <a:gd name="T43" fmla="*/ 2147483647 h 424"/>
                <a:gd name="T44" fmla="*/ 2147483647 w 590"/>
                <a:gd name="T45" fmla="*/ 2147483647 h 424"/>
                <a:gd name="T46" fmla="*/ 2147483647 w 590"/>
                <a:gd name="T47" fmla="*/ 2147483647 h 424"/>
                <a:gd name="T48" fmla="*/ 2147483647 w 590"/>
                <a:gd name="T49" fmla="*/ 2147483647 h 424"/>
                <a:gd name="T50" fmla="*/ 2147483647 w 590"/>
                <a:gd name="T51" fmla="*/ 2147483647 h 424"/>
                <a:gd name="T52" fmla="*/ 2147483647 w 590"/>
                <a:gd name="T53" fmla="*/ 2147483647 h 424"/>
                <a:gd name="T54" fmla="*/ 2147483647 w 590"/>
                <a:gd name="T55" fmla="*/ 2147483647 h 424"/>
                <a:gd name="T56" fmla="*/ 2147483647 w 590"/>
                <a:gd name="T57" fmla="*/ 2147483647 h 424"/>
                <a:gd name="T58" fmla="*/ 2147483647 w 590"/>
                <a:gd name="T59" fmla="*/ 2147483647 h 424"/>
                <a:gd name="T60" fmla="*/ 2147483647 w 590"/>
                <a:gd name="T61" fmla="*/ 2147483647 h 424"/>
                <a:gd name="T62" fmla="*/ 2147483647 w 590"/>
                <a:gd name="T63" fmla="*/ 2147483647 h 424"/>
                <a:gd name="T64" fmla="*/ 2147483647 w 590"/>
                <a:gd name="T65" fmla="*/ 2147483647 h 424"/>
                <a:gd name="T66" fmla="*/ 2147483647 w 590"/>
                <a:gd name="T67" fmla="*/ 2147483647 h 424"/>
                <a:gd name="T68" fmla="*/ 2147483647 w 590"/>
                <a:gd name="T69" fmla="*/ 2147483647 h 424"/>
                <a:gd name="T70" fmla="*/ 2147483647 w 590"/>
                <a:gd name="T71" fmla="*/ 2147483647 h 424"/>
                <a:gd name="T72" fmla="*/ 2147483647 w 590"/>
                <a:gd name="T73" fmla="*/ 2147483647 h 424"/>
                <a:gd name="T74" fmla="*/ 2147483647 w 590"/>
                <a:gd name="T75" fmla="*/ 0 h 424"/>
                <a:gd name="T76" fmla="*/ 2147483647 w 590"/>
                <a:gd name="T77" fmla="*/ 2147483647 h 424"/>
                <a:gd name="T78" fmla="*/ 2147483647 w 590"/>
                <a:gd name="T79" fmla="*/ 2147483647 h 424"/>
                <a:gd name="T80" fmla="*/ 2147483647 w 590"/>
                <a:gd name="T81" fmla="*/ 2147483647 h 424"/>
                <a:gd name="T82" fmla="*/ 2147483647 w 590"/>
                <a:gd name="T83" fmla="*/ 2147483647 h 424"/>
                <a:gd name="T84" fmla="*/ 2147483647 w 590"/>
                <a:gd name="T85" fmla="*/ 2147483647 h 424"/>
                <a:gd name="T86" fmla="*/ 2147483647 w 590"/>
                <a:gd name="T87" fmla="*/ 2147483647 h 424"/>
                <a:gd name="T88" fmla="*/ 2147483647 w 590"/>
                <a:gd name="T89" fmla="*/ 2147483647 h 424"/>
                <a:gd name="T90" fmla="*/ 2147483647 w 590"/>
                <a:gd name="T91" fmla="*/ 2147483647 h 424"/>
                <a:gd name="T92" fmla="*/ 2147483647 w 590"/>
                <a:gd name="T93" fmla="*/ 2147483647 h 424"/>
                <a:gd name="T94" fmla="*/ 2147483647 w 590"/>
                <a:gd name="T95" fmla="*/ 2147483647 h 424"/>
                <a:gd name="T96" fmla="*/ 2147483647 w 590"/>
                <a:gd name="T97" fmla="*/ 2147483647 h 424"/>
                <a:gd name="T98" fmla="*/ 2147483647 w 590"/>
                <a:gd name="T99" fmla="*/ 2147483647 h 424"/>
                <a:gd name="T100" fmla="*/ 2147483647 w 590"/>
                <a:gd name="T101" fmla="*/ 2147483647 h 424"/>
                <a:gd name="T102" fmla="*/ 2147483647 w 590"/>
                <a:gd name="T103" fmla="*/ 2147483647 h 424"/>
                <a:gd name="T104" fmla="*/ 2147483647 w 590"/>
                <a:gd name="T105" fmla="*/ 2147483647 h 424"/>
                <a:gd name="T106" fmla="*/ 2147483647 w 590"/>
                <a:gd name="T107" fmla="*/ 2147483647 h 424"/>
                <a:gd name="T108" fmla="*/ 0 w 590"/>
                <a:gd name="T109" fmla="*/ 2147483647 h 424"/>
                <a:gd name="T110" fmla="*/ 2147483647 w 590"/>
                <a:gd name="T111" fmla="*/ 2147483647 h 424"/>
                <a:gd name="T112" fmla="*/ 2147483647 w 590"/>
                <a:gd name="T113" fmla="*/ 2147483647 h 424"/>
                <a:gd name="T114" fmla="*/ 2147483647 w 590"/>
                <a:gd name="T115" fmla="*/ 2147483647 h 424"/>
                <a:gd name="T116" fmla="*/ 2147483647 w 590"/>
                <a:gd name="T117" fmla="*/ 2147483647 h 424"/>
                <a:gd name="T118" fmla="*/ 2147483647 w 590"/>
                <a:gd name="T119" fmla="*/ 2147483647 h 424"/>
                <a:gd name="T120" fmla="*/ 2147483647 w 590"/>
                <a:gd name="T121" fmla="*/ 2147483647 h 424"/>
                <a:gd name="T122" fmla="*/ 2147483647 w 590"/>
                <a:gd name="T123" fmla="*/ 2147483647 h 4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0"/>
                <a:gd name="T187" fmla="*/ 0 h 424"/>
                <a:gd name="T188" fmla="*/ 590 w 590"/>
                <a:gd name="T189" fmla="*/ 424 h 42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0" h="424">
                  <a:moveTo>
                    <a:pt x="101" y="320"/>
                  </a:moveTo>
                  <a:lnTo>
                    <a:pt x="135" y="384"/>
                  </a:lnTo>
                  <a:lnTo>
                    <a:pt x="202" y="424"/>
                  </a:lnTo>
                  <a:lnTo>
                    <a:pt x="253" y="424"/>
                  </a:lnTo>
                  <a:lnTo>
                    <a:pt x="287" y="416"/>
                  </a:lnTo>
                  <a:lnTo>
                    <a:pt x="346" y="424"/>
                  </a:lnTo>
                  <a:lnTo>
                    <a:pt x="430" y="392"/>
                  </a:lnTo>
                  <a:lnTo>
                    <a:pt x="463" y="400"/>
                  </a:lnTo>
                  <a:lnTo>
                    <a:pt x="506" y="376"/>
                  </a:lnTo>
                  <a:lnTo>
                    <a:pt x="556" y="352"/>
                  </a:lnTo>
                  <a:lnTo>
                    <a:pt x="590" y="272"/>
                  </a:lnTo>
                  <a:lnTo>
                    <a:pt x="565" y="256"/>
                  </a:lnTo>
                  <a:lnTo>
                    <a:pt x="556" y="224"/>
                  </a:lnTo>
                  <a:lnTo>
                    <a:pt x="565" y="192"/>
                  </a:lnTo>
                  <a:lnTo>
                    <a:pt x="573" y="160"/>
                  </a:lnTo>
                  <a:lnTo>
                    <a:pt x="531" y="160"/>
                  </a:lnTo>
                  <a:lnTo>
                    <a:pt x="506" y="120"/>
                  </a:lnTo>
                  <a:lnTo>
                    <a:pt x="480" y="144"/>
                  </a:lnTo>
                  <a:lnTo>
                    <a:pt x="472" y="160"/>
                  </a:lnTo>
                  <a:lnTo>
                    <a:pt x="447" y="152"/>
                  </a:lnTo>
                  <a:lnTo>
                    <a:pt x="413" y="160"/>
                  </a:lnTo>
                  <a:lnTo>
                    <a:pt x="405" y="128"/>
                  </a:lnTo>
                  <a:lnTo>
                    <a:pt x="379" y="128"/>
                  </a:lnTo>
                  <a:lnTo>
                    <a:pt x="371" y="152"/>
                  </a:lnTo>
                  <a:lnTo>
                    <a:pt x="354" y="112"/>
                  </a:lnTo>
                  <a:lnTo>
                    <a:pt x="312" y="120"/>
                  </a:lnTo>
                  <a:lnTo>
                    <a:pt x="295" y="144"/>
                  </a:lnTo>
                  <a:lnTo>
                    <a:pt x="278" y="144"/>
                  </a:lnTo>
                  <a:lnTo>
                    <a:pt x="270" y="88"/>
                  </a:lnTo>
                  <a:lnTo>
                    <a:pt x="253" y="96"/>
                  </a:lnTo>
                  <a:lnTo>
                    <a:pt x="244" y="152"/>
                  </a:lnTo>
                  <a:lnTo>
                    <a:pt x="228" y="152"/>
                  </a:lnTo>
                  <a:lnTo>
                    <a:pt x="219" y="128"/>
                  </a:lnTo>
                  <a:lnTo>
                    <a:pt x="177" y="160"/>
                  </a:lnTo>
                  <a:lnTo>
                    <a:pt x="185" y="112"/>
                  </a:lnTo>
                  <a:lnTo>
                    <a:pt x="211" y="88"/>
                  </a:lnTo>
                  <a:lnTo>
                    <a:pt x="185" y="16"/>
                  </a:lnTo>
                  <a:lnTo>
                    <a:pt x="143" y="0"/>
                  </a:lnTo>
                  <a:lnTo>
                    <a:pt x="152" y="64"/>
                  </a:lnTo>
                  <a:lnTo>
                    <a:pt x="118" y="16"/>
                  </a:lnTo>
                  <a:lnTo>
                    <a:pt x="93" y="32"/>
                  </a:lnTo>
                  <a:lnTo>
                    <a:pt x="76" y="48"/>
                  </a:lnTo>
                  <a:lnTo>
                    <a:pt x="93" y="64"/>
                  </a:lnTo>
                  <a:lnTo>
                    <a:pt x="59" y="48"/>
                  </a:lnTo>
                  <a:lnTo>
                    <a:pt x="51" y="64"/>
                  </a:lnTo>
                  <a:lnTo>
                    <a:pt x="25" y="64"/>
                  </a:lnTo>
                  <a:lnTo>
                    <a:pt x="42" y="88"/>
                  </a:lnTo>
                  <a:lnTo>
                    <a:pt x="101" y="96"/>
                  </a:lnTo>
                  <a:lnTo>
                    <a:pt x="143" y="128"/>
                  </a:lnTo>
                  <a:lnTo>
                    <a:pt x="110" y="144"/>
                  </a:lnTo>
                  <a:lnTo>
                    <a:pt x="126" y="160"/>
                  </a:lnTo>
                  <a:lnTo>
                    <a:pt x="143" y="176"/>
                  </a:lnTo>
                  <a:lnTo>
                    <a:pt x="126" y="184"/>
                  </a:lnTo>
                  <a:lnTo>
                    <a:pt x="8" y="144"/>
                  </a:lnTo>
                  <a:lnTo>
                    <a:pt x="0" y="168"/>
                  </a:lnTo>
                  <a:lnTo>
                    <a:pt x="93" y="192"/>
                  </a:lnTo>
                  <a:lnTo>
                    <a:pt x="84" y="216"/>
                  </a:lnTo>
                  <a:lnTo>
                    <a:pt x="84" y="256"/>
                  </a:lnTo>
                  <a:lnTo>
                    <a:pt x="67" y="280"/>
                  </a:lnTo>
                  <a:lnTo>
                    <a:pt x="34" y="280"/>
                  </a:lnTo>
                  <a:lnTo>
                    <a:pt x="17" y="296"/>
                  </a:lnTo>
                  <a:lnTo>
                    <a:pt x="101" y="32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36" name="Freeform 15"/>
            <p:cNvSpPr>
              <a:spLocks/>
            </p:cNvSpPr>
            <p:nvPr/>
          </p:nvSpPr>
          <p:spPr bwMode="auto">
            <a:xfrm>
              <a:off x="4930775" y="3246438"/>
              <a:ext cx="82550" cy="77788"/>
            </a:xfrm>
            <a:custGeom>
              <a:avLst/>
              <a:gdLst>
                <a:gd name="T0" fmla="*/ 0 w 67"/>
                <a:gd name="T1" fmla="*/ 2147483647 h 64"/>
                <a:gd name="T2" fmla="*/ 2147483647 w 67"/>
                <a:gd name="T3" fmla="*/ 2147483647 h 64"/>
                <a:gd name="T4" fmla="*/ 2147483647 w 67"/>
                <a:gd name="T5" fmla="*/ 2147483647 h 64"/>
                <a:gd name="T6" fmla="*/ 2147483647 w 67"/>
                <a:gd name="T7" fmla="*/ 2147483647 h 64"/>
                <a:gd name="T8" fmla="*/ 2147483647 w 67"/>
                <a:gd name="T9" fmla="*/ 0 h 64"/>
                <a:gd name="T10" fmla="*/ 0 w 67"/>
                <a:gd name="T11" fmla="*/ 2147483647 h 64"/>
                <a:gd name="T12" fmla="*/ 0 w 67"/>
                <a:gd name="T13" fmla="*/ 2147483647 h 64"/>
                <a:gd name="T14" fmla="*/ 0 60000 65536"/>
                <a:gd name="T15" fmla="*/ 0 60000 65536"/>
                <a:gd name="T16" fmla="*/ 0 60000 65536"/>
                <a:gd name="T17" fmla="*/ 0 60000 65536"/>
                <a:gd name="T18" fmla="*/ 0 60000 65536"/>
                <a:gd name="T19" fmla="*/ 0 60000 65536"/>
                <a:gd name="T20" fmla="*/ 0 60000 65536"/>
                <a:gd name="T21" fmla="*/ 0 w 67"/>
                <a:gd name="T22" fmla="*/ 0 h 64"/>
                <a:gd name="T23" fmla="*/ 67 w 67"/>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4">
                  <a:moveTo>
                    <a:pt x="0" y="24"/>
                  </a:moveTo>
                  <a:lnTo>
                    <a:pt x="17" y="56"/>
                  </a:lnTo>
                  <a:lnTo>
                    <a:pt x="51" y="64"/>
                  </a:lnTo>
                  <a:lnTo>
                    <a:pt x="67" y="48"/>
                  </a:lnTo>
                  <a:lnTo>
                    <a:pt x="59" y="0"/>
                  </a:lnTo>
                  <a:lnTo>
                    <a:pt x="0" y="8"/>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37" name="Freeform 16"/>
            <p:cNvSpPr>
              <a:spLocks/>
            </p:cNvSpPr>
            <p:nvPr/>
          </p:nvSpPr>
          <p:spPr bwMode="auto">
            <a:xfrm>
              <a:off x="2560638" y="1731963"/>
              <a:ext cx="720725" cy="508000"/>
            </a:xfrm>
            <a:custGeom>
              <a:avLst/>
              <a:gdLst>
                <a:gd name="T0" fmla="*/ 2147483647 w 590"/>
                <a:gd name="T1" fmla="*/ 2147483647 h 424"/>
                <a:gd name="T2" fmla="*/ 2147483647 w 590"/>
                <a:gd name="T3" fmla="*/ 2147483647 h 424"/>
                <a:gd name="T4" fmla="*/ 2147483647 w 590"/>
                <a:gd name="T5" fmla="*/ 2147483647 h 424"/>
                <a:gd name="T6" fmla="*/ 2147483647 w 590"/>
                <a:gd name="T7" fmla="*/ 2147483647 h 424"/>
                <a:gd name="T8" fmla="*/ 2147483647 w 590"/>
                <a:gd name="T9" fmla="*/ 2147483647 h 424"/>
                <a:gd name="T10" fmla="*/ 2147483647 w 590"/>
                <a:gd name="T11" fmla="*/ 2147483647 h 424"/>
                <a:gd name="T12" fmla="*/ 2147483647 w 590"/>
                <a:gd name="T13" fmla="*/ 2147483647 h 424"/>
                <a:gd name="T14" fmla="*/ 2147483647 w 590"/>
                <a:gd name="T15" fmla="*/ 2147483647 h 424"/>
                <a:gd name="T16" fmla="*/ 2147483647 w 590"/>
                <a:gd name="T17" fmla="*/ 2147483647 h 424"/>
                <a:gd name="T18" fmla="*/ 2147483647 w 590"/>
                <a:gd name="T19" fmla="*/ 2147483647 h 424"/>
                <a:gd name="T20" fmla="*/ 2147483647 w 590"/>
                <a:gd name="T21" fmla="*/ 2147483647 h 424"/>
                <a:gd name="T22" fmla="*/ 2147483647 w 590"/>
                <a:gd name="T23" fmla="*/ 2147483647 h 424"/>
                <a:gd name="T24" fmla="*/ 2147483647 w 590"/>
                <a:gd name="T25" fmla="*/ 2147483647 h 424"/>
                <a:gd name="T26" fmla="*/ 2147483647 w 590"/>
                <a:gd name="T27" fmla="*/ 2147483647 h 424"/>
                <a:gd name="T28" fmla="*/ 2147483647 w 590"/>
                <a:gd name="T29" fmla="*/ 2147483647 h 424"/>
                <a:gd name="T30" fmla="*/ 2147483647 w 590"/>
                <a:gd name="T31" fmla="*/ 2147483647 h 424"/>
                <a:gd name="T32" fmla="*/ 2147483647 w 590"/>
                <a:gd name="T33" fmla="*/ 2147483647 h 424"/>
                <a:gd name="T34" fmla="*/ 2147483647 w 590"/>
                <a:gd name="T35" fmla="*/ 2147483647 h 424"/>
                <a:gd name="T36" fmla="*/ 2147483647 w 590"/>
                <a:gd name="T37" fmla="*/ 2147483647 h 424"/>
                <a:gd name="T38" fmla="*/ 2147483647 w 590"/>
                <a:gd name="T39" fmla="*/ 2147483647 h 424"/>
                <a:gd name="T40" fmla="*/ 2147483647 w 590"/>
                <a:gd name="T41" fmla="*/ 2147483647 h 424"/>
                <a:gd name="T42" fmla="*/ 2147483647 w 590"/>
                <a:gd name="T43" fmla="*/ 2147483647 h 424"/>
                <a:gd name="T44" fmla="*/ 2147483647 w 590"/>
                <a:gd name="T45" fmla="*/ 2147483647 h 424"/>
                <a:gd name="T46" fmla="*/ 2147483647 w 590"/>
                <a:gd name="T47" fmla="*/ 2147483647 h 424"/>
                <a:gd name="T48" fmla="*/ 2147483647 w 590"/>
                <a:gd name="T49" fmla="*/ 2147483647 h 424"/>
                <a:gd name="T50" fmla="*/ 2147483647 w 590"/>
                <a:gd name="T51" fmla="*/ 2147483647 h 424"/>
                <a:gd name="T52" fmla="*/ 2147483647 w 590"/>
                <a:gd name="T53" fmla="*/ 2147483647 h 424"/>
                <a:gd name="T54" fmla="*/ 2147483647 w 590"/>
                <a:gd name="T55" fmla="*/ 2147483647 h 424"/>
                <a:gd name="T56" fmla="*/ 2147483647 w 590"/>
                <a:gd name="T57" fmla="*/ 2147483647 h 424"/>
                <a:gd name="T58" fmla="*/ 2147483647 w 590"/>
                <a:gd name="T59" fmla="*/ 2147483647 h 424"/>
                <a:gd name="T60" fmla="*/ 2147483647 w 590"/>
                <a:gd name="T61" fmla="*/ 2147483647 h 424"/>
                <a:gd name="T62" fmla="*/ 2147483647 w 590"/>
                <a:gd name="T63" fmla="*/ 2147483647 h 424"/>
                <a:gd name="T64" fmla="*/ 2147483647 w 590"/>
                <a:gd name="T65" fmla="*/ 2147483647 h 424"/>
                <a:gd name="T66" fmla="*/ 2147483647 w 590"/>
                <a:gd name="T67" fmla="*/ 2147483647 h 424"/>
                <a:gd name="T68" fmla="*/ 2147483647 w 590"/>
                <a:gd name="T69" fmla="*/ 2147483647 h 424"/>
                <a:gd name="T70" fmla="*/ 2147483647 w 590"/>
                <a:gd name="T71" fmla="*/ 2147483647 h 424"/>
                <a:gd name="T72" fmla="*/ 2147483647 w 590"/>
                <a:gd name="T73" fmla="*/ 2147483647 h 424"/>
                <a:gd name="T74" fmla="*/ 2147483647 w 590"/>
                <a:gd name="T75" fmla="*/ 0 h 424"/>
                <a:gd name="T76" fmla="*/ 2147483647 w 590"/>
                <a:gd name="T77" fmla="*/ 2147483647 h 424"/>
                <a:gd name="T78" fmla="*/ 2147483647 w 590"/>
                <a:gd name="T79" fmla="*/ 2147483647 h 424"/>
                <a:gd name="T80" fmla="*/ 2147483647 w 590"/>
                <a:gd name="T81" fmla="*/ 2147483647 h 424"/>
                <a:gd name="T82" fmla="*/ 2147483647 w 590"/>
                <a:gd name="T83" fmla="*/ 2147483647 h 424"/>
                <a:gd name="T84" fmla="*/ 2147483647 w 590"/>
                <a:gd name="T85" fmla="*/ 2147483647 h 424"/>
                <a:gd name="T86" fmla="*/ 2147483647 w 590"/>
                <a:gd name="T87" fmla="*/ 2147483647 h 424"/>
                <a:gd name="T88" fmla="*/ 2147483647 w 590"/>
                <a:gd name="T89" fmla="*/ 2147483647 h 424"/>
                <a:gd name="T90" fmla="*/ 2147483647 w 590"/>
                <a:gd name="T91" fmla="*/ 2147483647 h 424"/>
                <a:gd name="T92" fmla="*/ 2147483647 w 590"/>
                <a:gd name="T93" fmla="*/ 2147483647 h 424"/>
                <a:gd name="T94" fmla="*/ 2147483647 w 590"/>
                <a:gd name="T95" fmla="*/ 2147483647 h 424"/>
                <a:gd name="T96" fmla="*/ 2147483647 w 590"/>
                <a:gd name="T97" fmla="*/ 2147483647 h 424"/>
                <a:gd name="T98" fmla="*/ 2147483647 w 590"/>
                <a:gd name="T99" fmla="*/ 2147483647 h 424"/>
                <a:gd name="T100" fmla="*/ 2147483647 w 590"/>
                <a:gd name="T101" fmla="*/ 2147483647 h 424"/>
                <a:gd name="T102" fmla="*/ 2147483647 w 590"/>
                <a:gd name="T103" fmla="*/ 2147483647 h 424"/>
                <a:gd name="T104" fmla="*/ 2147483647 w 590"/>
                <a:gd name="T105" fmla="*/ 2147483647 h 424"/>
                <a:gd name="T106" fmla="*/ 2147483647 w 590"/>
                <a:gd name="T107" fmla="*/ 2147483647 h 424"/>
                <a:gd name="T108" fmla="*/ 0 w 590"/>
                <a:gd name="T109" fmla="*/ 2147483647 h 424"/>
                <a:gd name="T110" fmla="*/ 2147483647 w 590"/>
                <a:gd name="T111" fmla="*/ 2147483647 h 424"/>
                <a:gd name="T112" fmla="*/ 2147483647 w 590"/>
                <a:gd name="T113" fmla="*/ 2147483647 h 424"/>
                <a:gd name="T114" fmla="*/ 2147483647 w 590"/>
                <a:gd name="T115" fmla="*/ 2147483647 h 424"/>
                <a:gd name="T116" fmla="*/ 2147483647 w 590"/>
                <a:gd name="T117" fmla="*/ 2147483647 h 424"/>
                <a:gd name="T118" fmla="*/ 2147483647 w 590"/>
                <a:gd name="T119" fmla="*/ 2147483647 h 424"/>
                <a:gd name="T120" fmla="*/ 2147483647 w 590"/>
                <a:gd name="T121" fmla="*/ 2147483647 h 424"/>
                <a:gd name="T122" fmla="*/ 2147483647 w 590"/>
                <a:gd name="T123" fmla="*/ 2147483647 h 4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0"/>
                <a:gd name="T187" fmla="*/ 0 h 424"/>
                <a:gd name="T188" fmla="*/ 590 w 590"/>
                <a:gd name="T189" fmla="*/ 424 h 42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0" h="424">
                  <a:moveTo>
                    <a:pt x="101" y="320"/>
                  </a:moveTo>
                  <a:lnTo>
                    <a:pt x="135" y="384"/>
                  </a:lnTo>
                  <a:lnTo>
                    <a:pt x="202" y="424"/>
                  </a:lnTo>
                  <a:lnTo>
                    <a:pt x="253" y="424"/>
                  </a:lnTo>
                  <a:lnTo>
                    <a:pt x="287" y="416"/>
                  </a:lnTo>
                  <a:lnTo>
                    <a:pt x="346" y="424"/>
                  </a:lnTo>
                  <a:lnTo>
                    <a:pt x="430" y="392"/>
                  </a:lnTo>
                  <a:lnTo>
                    <a:pt x="463" y="400"/>
                  </a:lnTo>
                  <a:lnTo>
                    <a:pt x="506" y="376"/>
                  </a:lnTo>
                  <a:lnTo>
                    <a:pt x="556" y="352"/>
                  </a:lnTo>
                  <a:lnTo>
                    <a:pt x="590" y="272"/>
                  </a:lnTo>
                  <a:lnTo>
                    <a:pt x="565" y="256"/>
                  </a:lnTo>
                  <a:lnTo>
                    <a:pt x="556" y="224"/>
                  </a:lnTo>
                  <a:lnTo>
                    <a:pt x="565" y="192"/>
                  </a:lnTo>
                  <a:lnTo>
                    <a:pt x="573" y="160"/>
                  </a:lnTo>
                  <a:lnTo>
                    <a:pt x="531" y="160"/>
                  </a:lnTo>
                  <a:lnTo>
                    <a:pt x="506" y="120"/>
                  </a:lnTo>
                  <a:lnTo>
                    <a:pt x="480" y="144"/>
                  </a:lnTo>
                  <a:lnTo>
                    <a:pt x="472" y="160"/>
                  </a:lnTo>
                  <a:lnTo>
                    <a:pt x="447" y="152"/>
                  </a:lnTo>
                  <a:lnTo>
                    <a:pt x="413" y="160"/>
                  </a:lnTo>
                  <a:lnTo>
                    <a:pt x="405" y="128"/>
                  </a:lnTo>
                  <a:lnTo>
                    <a:pt x="379" y="128"/>
                  </a:lnTo>
                  <a:lnTo>
                    <a:pt x="371" y="152"/>
                  </a:lnTo>
                  <a:lnTo>
                    <a:pt x="354" y="112"/>
                  </a:lnTo>
                  <a:lnTo>
                    <a:pt x="312" y="120"/>
                  </a:lnTo>
                  <a:lnTo>
                    <a:pt x="295" y="144"/>
                  </a:lnTo>
                  <a:lnTo>
                    <a:pt x="278" y="144"/>
                  </a:lnTo>
                  <a:lnTo>
                    <a:pt x="270" y="88"/>
                  </a:lnTo>
                  <a:lnTo>
                    <a:pt x="253" y="96"/>
                  </a:lnTo>
                  <a:lnTo>
                    <a:pt x="244" y="152"/>
                  </a:lnTo>
                  <a:lnTo>
                    <a:pt x="228" y="152"/>
                  </a:lnTo>
                  <a:lnTo>
                    <a:pt x="219" y="128"/>
                  </a:lnTo>
                  <a:lnTo>
                    <a:pt x="177" y="160"/>
                  </a:lnTo>
                  <a:lnTo>
                    <a:pt x="185" y="112"/>
                  </a:lnTo>
                  <a:lnTo>
                    <a:pt x="211" y="88"/>
                  </a:lnTo>
                  <a:lnTo>
                    <a:pt x="185" y="16"/>
                  </a:lnTo>
                  <a:lnTo>
                    <a:pt x="143" y="0"/>
                  </a:lnTo>
                  <a:lnTo>
                    <a:pt x="152" y="64"/>
                  </a:lnTo>
                  <a:lnTo>
                    <a:pt x="118" y="16"/>
                  </a:lnTo>
                  <a:lnTo>
                    <a:pt x="93" y="32"/>
                  </a:lnTo>
                  <a:lnTo>
                    <a:pt x="76" y="48"/>
                  </a:lnTo>
                  <a:lnTo>
                    <a:pt x="93" y="64"/>
                  </a:lnTo>
                  <a:lnTo>
                    <a:pt x="59" y="48"/>
                  </a:lnTo>
                  <a:lnTo>
                    <a:pt x="51" y="64"/>
                  </a:lnTo>
                  <a:lnTo>
                    <a:pt x="25" y="64"/>
                  </a:lnTo>
                  <a:lnTo>
                    <a:pt x="42" y="88"/>
                  </a:lnTo>
                  <a:lnTo>
                    <a:pt x="101" y="96"/>
                  </a:lnTo>
                  <a:lnTo>
                    <a:pt x="143" y="128"/>
                  </a:lnTo>
                  <a:lnTo>
                    <a:pt x="110" y="144"/>
                  </a:lnTo>
                  <a:lnTo>
                    <a:pt x="126" y="160"/>
                  </a:lnTo>
                  <a:lnTo>
                    <a:pt x="143" y="176"/>
                  </a:lnTo>
                  <a:lnTo>
                    <a:pt x="126" y="184"/>
                  </a:lnTo>
                  <a:lnTo>
                    <a:pt x="8" y="144"/>
                  </a:lnTo>
                  <a:lnTo>
                    <a:pt x="0" y="168"/>
                  </a:lnTo>
                  <a:lnTo>
                    <a:pt x="93" y="192"/>
                  </a:lnTo>
                  <a:lnTo>
                    <a:pt x="84" y="216"/>
                  </a:lnTo>
                  <a:lnTo>
                    <a:pt x="84" y="256"/>
                  </a:lnTo>
                  <a:lnTo>
                    <a:pt x="67" y="280"/>
                  </a:lnTo>
                  <a:lnTo>
                    <a:pt x="34" y="280"/>
                  </a:lnTo>
                  <a:lnTo>
                    <a:pt x="17" y="296"/>
                  </a:lnTo>
                  <a:lnTo>
                    <a:pt x="101" y="320"/>
                  </a:lnTo>
                  <a:close/>
                </a:path>
              </a:pathLst>
            </a:custGeom>
            <a:solidFill>
              <a:schemeClr val="bg1"/>
            </a:solidFill>
            <a:ln w="12700">
              <a:solidFill>
                <a:srgbClr val="000000"/>
              </a:solidFill>
              <a:round/>
              <a:headEnd/>
              <a:tailEnd/>
            </a:ln>
          </p:spPr>
          <p:txBody>
            <a:bodyPr/>
            <a:lstStyle/>
            <a:p>
              <a:endParaRPr lang="en-US"/>
            </a:p>
          </p:txBody>
        </p:sp>
        <p:sp>
          <p:nvSpPr>
            <p:cNvPr id="34838" name="Freeform 17"/>
            <p:cNvSpPr>
              <a:spLocks/>
            </p:cNvSpPr>
            <p:nvPr/>
          </p:nvSpPr>
          <p:spPr bwMode="auto">
            <a:xfrm>
              <a:off x="4930775" y="3246438"/>
              <a:ext cx="82550" cy="77788"/>
            </a:xfrm>
            <a:custGeom>
              <a:avLst/>
              <a:gdLst>
                <a:gd name="T0" fmla="*/ 0 w 67"/>
                <a:gd name="T1" fmla="*/ 2147483647 h 64"/>
                <a:gd name="T2" fmla="*/ 2147483647 w 67"/>
                <a:gd name="T3" fmla="*/ 2147483647 h 64"/>
                <a:gd name="T4" fmla="*/ 2147483647 w 67"/>
                <a:gd name="T5" fmla="*/ 2147483647 h 64"/>
                <a:gd name="T6" fmla="*/ 2147483647 w 67"/>
                <a:gd name="T7" fmla="*/ 2147483647 h 64"/>
                <a:gd name="T8" fmla="*/ 2147483647 w 67"/>
                <a:gd name="T9" fmla="*/ 0 h 64"/>
                <a:gd name="T10" fmla="*/ 0 w 67"/>
                <a:gd name="T11" fmla="*/ 2147483647 h 64"/>
                <a:gd name="T12" fmla="*/ 0 60000 65536"/>
                <a:gd name="T13" fmla="*/ 0 60000 65536"/>
                <a:gd name="T14" fmla="*/ 0 60000 65536"/>
                <a:gd name="T15" fmla="*/ 0 60000 65536"/>
                <a:gd name="T16" fmla="*/ 0 60000 65536"/>
                <a:gd name="T17" fmla="*/ 0 60000 65536"/>
                <a:gd name="T18" fmla="*/ 0 w 67"/>
                <a:gd name="T19" fmla="*/ 0 h 64"/>
                <a:gd name="T20" fmla="*/ 67 w 67"/>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7" h="64">
                  <a:moveTo>
                    <a:pt x="0" y="24"/>
                  </a:moveTo>
                  <a:lnTo>
                    <a:pt x="17" y="56"/>
                  </a:lnTo>
                  <a:lnTo>
                    <a:pt x="51" y="64"/>
                  </a:lnTo>
                  <a:lnTo>
                    <a:pt x="67" y="48"/>
                  </a:lnTo>
                  <a:lnTo>
                    <a:pt x="59" y="0"/>
                  </a:lnTo>
                  <a:lnTo>
                    <a:pt x="0" y="8"/>
                  </a:lnTo>
                </a:path>
              </a:pathLst>
            </a:custGeom>
            <a:solidFill>
              <a:schemeClr val="bg1"/>
            </a:solidFill>
            <a:ln w="12700">
              <a:solidFill>
                <a:srgbClr val="000000"/>
              </a:solidFill>
              <a:round/>
              <a:headEnd/>
              <a:tailEnd/>
            </a:ln>
          </p:spPr>
          <p:txBody>
            <a:bodyPr/>
            <a:lstStyle/>
            <a:p>
              <a:endParaRPr lang="en-US"/>
            </a:p>
          </p:txBody>
        </p:sp>
        <p:sp>
          <p:nvSpPr>
            <p:cNvPr id="34839" name="Freeform 18"/>
            <p:cNvSpPr>
              <a:spLocks/>
            </p:cNvSpPr>
            <p:nvPr/>
          </p:nvSpPr>
          <p:spPr bwMode="auto">
            <a:xfrm>
              <a:off x="4930775" y="3246438"/>
              <a:ext cx="82550" cy="77788"/>
            </a:xfrm>
            <a:custGeom>
              <a:avLst/>
              <a:gdLst>
                <a:gd name="T0" fmla="*/ 0 w 67"/>
                <a:gd name="T1" fmla="*/ 2147483647 h 64"/>
                <a:gd name="T2" fmla="*/ 2147483647 w 67"/>
                <a:gd name="T3" fmla="*/ 2147483647 h 64"/>
                <a:gd name="T4" fmla="*/ 2147483647 w 67"/>
                <a:gd name="T5" fmla="*/ 2147483647 h 64"/>
                <a:gd name="T6" fmla="*/ 2147483647 w 67"/>
                <a:gd name="T7" fmla="*/ 2147483647 h 64"/>
                <a:gd name="T8" fmla="*/ 2147483647 w 67"/>
                <a:gd name="T9" fmla="*/ 0 h 64"/>
                <a:gd name="T10" fmla="*/ 0 w 67"/>
                <a:gd name="T11" fmla="*/ 2147483647 h 64"/>
                <a:gd name="T12" fmla="*/ 0 60000 65536"/>
                <a:gd name="T13" fmla="*/ 0 60000 65536"/>
                <a:gd name="T14" fmla="*/ 0 60000 65536"/>
                <a:gd name="T15" fmla="*/ 0 60000 65536"/>
                <a:gd name="T16" fmla="*/ 0 60000 65536"/>
                <a:gd name="T17" fmla="*/ 0 60000 65536"/>
                <a:gd name="T18" fmla="*/ 0 w 67"/>
                <a:gd name="T19" fmla="*/ 0 h 64"/>
                <a:gd name="T20" fmla="*/ 67 w 67"/>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7" h="64">
                  <a:moveTo>
                    <a:pt x="0" y="24"/>
                  </a:moveTo>
                  <a:lnTo>
                    <a:pt x="17" y="56"/>
                  </a:lnTo>
                  <a:lnTo>
                    <a:pt x="51" y="64"/>
                  </a:lnTo>
                  <a:lnTo>
                    <a:pt x="67" y="48"/>
                  </a:lnTo>
                  <a:lnTo>
                    <a:pt x="59" y="0"/>
                  </a:lnTo>
                  <a:lnTo>
                    <a:pt x="0" y="8"/>
                  </a:lnTo>
                </a:path>
              </a:pathLst>
            </a:custGeom>
            <a:solidFill>
              <a:schemeClr val="bg1"/>
            </a:solidFill>
            <a:ln w="12700">
              <a:solidFill>
                <a:srgbClr val="000000"/>
              </a:solidFill>
              <a:round/>
              <a:headEnd/>
              <a:tailEnd/>
            </a:ln>
          </p:spPr>
          <p:txBody>
            <a:bodyPr/>
            <a:lstStyle/>
            <a:p>
              <a:endParaRPr lang="en-US"/>
            </a:p>
          </p:txBody>
        </p:sp>
        <p:sp>
          <p:nvSpPr>
            <p:cNvPr id="34840" name="Freeform 19"/>
            <p:cNvSpPr>
              <a:spLocks/>
            </p:cNvSpPr>
            <p:nvPr/>
          </p:nvSpPr>
          <p:spPr bwMode="auto">
            <a:xfrm>
              <a:off x="5045075" y="3170238"/>
              <a:ext cx="133350" cy="211138"/>
            </a:xfrm>
            <a:custGeom>
              <a:avLst/>
              <a:gdLst>
                <a:gd name="T0" fmla="*/ 0 w 109"/>
                <a:gd name="T1" fmla="*/ 2147483647 h 176"/>
                <a:gd name="T2" fmla="*/ 2147483647 w 109"/>
                <a:gd name="T3" fmla="*/ 2147483647 h 176"/>
                <a:gd name="T4" fmla="*/ 2147483647 w 109"/>
                <a:gd name="T5" fmla="*/ 2147483647 h 176"/>
                <a:gd name="T6" fmla="*/ 2147483647 w 109"/>
                <a:gd name="T7" fmla="*/ 2147483647 h 176"/>
                <a:gd name="T8" fmla="*/ 2147483647 w 109"/>
                <a:gd name="T9" fmla="*/ 2147483647 h 176"/>
                <a:gd name="T10" fmla="*/ 2147483647 w 109"/>
                <a:gd name="T11" fmla="*/ 2147483647 h 176"/>
                <a:gd name="T12" fmla="*/ 2147483647 w 109"/>
                <a:gd name="T13" fmla="*/ 2147483647 h 176"/>
                <a:gd name="T14" fmla="*/ 2147483647 w 109"/>
                <a:gd name="T15" fmla="*/ 2147483647 h 176"/>
                <a:gd name="T16" fmla="*/ 2147483647 w 109"/>
                <a:gd name="T17" fmla="*/ 0 h 176"/>
                <a:gd name="T18" fmla="*/ 2147483647 w 109"/>
                <a:gd name="T19" fmla="*/ 2147483647 h 176"/>
                <a:gd name="T20" fmla="*/ 2147483647 w 109"/>
                <a:gd name="T21" fmla="*/ 2147483647 h 176"/>
                <a:gd name="T22" fmla="*/ 2147483647 w 109"/>
                <a:gd name="T23" fmla="*/ 2147483647 h 176"/>
                <a:gd name="T24" fmla="*/ 2147483647 w 109"/>
                <a:gd name="T25" fmla="*/ 2147483647 h 176"/>
                <a:gd name="T26" fmla="*/ 0 w 109"/>
                <a:gd name="T27" fmla="*/ 2147483647 h 176"/>
                <a:gd name="T28" fmla="*/ 2147483647 w 109"/>
                <a:gd name="T29" fmla="*/ 2147483647 h 176"/>
                <a:gd name="T30" fmla="*/ 2147483647 w 109"/>
                <a:gd name="T31" fmla="*/ 2147483647 h 176"/>
                <a:gd name="T32" fmla="*/ 2147483647 w 109"/>
                <a:gd name="T33" fmla="*/ 2147483647 h 176"/>
                <a:gd name="T34" fmla="*/ 2147483647 w 109"/>
                <a:gd name="T35" fmla="*/ 2147483647 h 176"/>
                <a:gd name="T36" fmla="*/ 2147483647 w 109"/>
                <a:gd name="T37" fmla="*/ 2147483647 h 176"/>
                <a:gd name="T38" fmla="*/ 0 w 109"/>
                <a:gd name="T39" fmla="*/ 2147483647 h 1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9"/>
                <a:gd name="T61" fmla="*/ 0 h 176"/>
                <a:gd name="T62" fmla="*/ 109 w 109"/>
                <a:gd name="T63" fmla="*/ 176 h 1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9" h="176">
                  <a:moveTo>
                    <a:pt x="0" y="168"/>
                  </a:moveTo>
                  <a:lnTo>
                    <a:pt x="50" y="176"/>
                  </a:lnTo>
                  <a:lnTo>
                    <a:pt x="76" y="144"/>
                  </a:lnTo>
                  <a:lnTo>
                    <a:pt x="76" y="112"/>
                  </a:lnTo>
                  <a:lnTo>
                    <a:pt x="109" y="96"/>
                  </a:lnTo>
                  <a:lnTo>
                    <a:pt x="92" y="72"/>
                  </a:lnTo>
                  <a:lnTo>
                    <a:pt x="109" y="64"/>
                  </a:lnTo>
                  <a:lnTo>
                    <a:pt x="101" y="8"/>
                  </a:lnTo>
                  <a:lnTo>
                    <a:pt x="84" y="0"/>
                  </a:lnTo>
                  <a:lnTo>
                    <a:pt x="67" y="16"/>
                  </a:lnTo>
                  <a:lnTo>
                    <a:pt x="59" y="48"/>
                  </a:lnTo>
                  <a:lnTo>
                    <a:pt x="42" y="16"/>
                  </a:lnTo>
                  <a:lnTo>
                    <a:pt x="8" y="40"/>
                  </a:lnTo>
                  <a:lnTo>
                    <a:pt x="0" y="48"/>
                  </a:lnTo>
                  <a:lnTo>
                    <a:pt x="8" y="72"/>
                  </a:lnTo>
                  <a:lnTo>
                    <a:pt x="42" y="88"/>
                  </a:lnTo>
                  <a:lnTo>
                    <a:pt x="50" y="112"/>
                  </a:lnTo>
                  <a:lnTo>
                    <a:pt x="33" y="144"/>
                  </a:lnTo>
                  <a:lnTo>
                    <a:pt x="8" y="136"/>
                  </a:lnTo>
                  <a:lnTo>
                    <a:pt x="0" y="16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41" name="Freeform 20"/>
            <p:cNvSpPr>
              <a:spLocks/>
            </p:cNvSpPr>
            <p:nvPr/>
          </p:nvSpPr>
          <p:spPr bwMode="auto">
            <a:xfrm>
              <a:off x="5283200" y="5719763"/>
              <a:ext cx="400050" cy="249238"/>
            </a:xfrm>
            <a:custGeom>
              <a:avLst/>
              <a:gdLst>
                <a:gd name="T0" fmla="*/ 0 w 328"/>
                <a:gd name="T1" fmla="*/ 2147483647 h 208"/>
                <a:gd name="T2" fmla="*/ 0 w 328"/>
                <a:gd name="T3" fmla="*/ 2147483647 h 208"/>
                <a:gd name="T4" fmla="*/ 2147483647 w 328"/>
                <a:gd name="T5" fmla="*/ 2147483647 h 208"/>
                <a:gd name="T6" fmla="*/ 2147483647 w 328"/>
                <a:gd name="T7" fmla="*/ 2147483647 h 208"/>
                <a:gd name="T8" fmla="*/ 2147483647 w 328"/>
                <a:gd name="T9" fmla="*/ 2147483647 h 208"/>
                <a:gd name="T10" fmla="*/ 2147483647 w 328"/>
                <a:gd name="T11" fmla="*/ 2147483647 h 208"/>
                <a:gd name="T12" fmla="*/ 2147483647 w 328"/>
                <a:gd name="T13" fmla="*/ 2147483647 h 208"/>
                <a:gd name="T14" fmla="*/ 2147483647 w 328"/>
                <a:gd name="T15" fmla="*/ 2147483647 h 208"/>
                <a:gd name="T16" fmla="*/ 2147483647 w 328"/>
                <a:gd name="T17" fmla="*/ 2147483647 h 208"/>
                <a:gd name="T18" fmla="*/ 2147483647 w 328"/>
                <a:gd name="T19" fmla="*/ 2147483647 h 208"/>
                <a:gd name="T20" fmla="*/ 2147483647 w 328"/>
                <a:gd name="T21" fmla="*/ 2147483647 h 208"/>
                <a:gd name="T22" fmla="*/ 2147483647 w 328"/>
                <a:gd name="T23" fmla="*/ 2147483647 h 208"/>
                <a:gd name="T24" fmla="*/ 2147483647 w 328"/>
                <a:gd name="T25" fmla="*/ 2147483647 h 208"/>
                <a:gd name="T26" fmla="*/ 2147483647 w 328"/>
                <a:gd name="T27" fmla="*/ 2147483647 h 208"/>
                <a:gd name="T28" fmla="*/ 2147483647 w 328"/>
                <a:gd name="T29" fmla="*/ 2147483647 h 208"/>
                <a:gd name="T30" fmla="*/ 2147483647 w 328"/>
                <a:gd name="T31" fmla="*/ 2147483647 h 208"/>
                <a:gd name="T32" fmla="*/ 2147483647 w 328"/>
                <a:gd name="T33" fmla="*/ 0 h 208"/>
                <a:gd name="T34" fmla="*/ 2147483647 w 328"/>
                <a:gd name="T35" fmla="*/ 2147483647 h 208"/>
                <a:gd name="T36" fmla="*/ 2147483647 w 328"/>
                <a:gd name="T37" fmla="*/ 2147483647 h 208"/>
                <a:gd name="T38" fmla="*/ 2147483647 w 328"/>
                <a:gd name="T39" fmla="*/ 2147483647 h 208"/>
                <a:gd name="T40" fmla="*/ 2147483647 w 328"/>
                <a:gd name="T41" fmla="*/ 2147483647 h 208"/>
                <a:gd name="T42" fmla="*/ 2147483647 w 328"/>
                <a:gd name="T43" fmla="*/ 2147483647 h 208"/>
                <a:gd name="T44" fmla="*/ 2147483647 w 328"/>
                <a:gd name="T45" fmla="*/ 2147483647 h 208"/>
                <a:gd name="T46" fmla="*/ 2147483647 w 328"/>
                <a:gd name="T47" fmla="*/ 2147483647 h 208"/>
                <a:gd name="T48" fmla="*/ 2147483647 w 328"/>
                <a:gd name="T49" fmla="*/ 2147483647 h 208"/>
                <a:gd name="T50" fmla="*/ 2147483647 w 328"/>
                <a:gd name="T51" fmla="*/ 2147483647 h 208"/>
                <a:gd name="T52" fmla="*/ 2147483647 w 328"/>
                <a:gd name="T53" fmla="*/ 2147483647 h 208"/>
                <a:gd name="T54" fmla="*/ 2147483647 w 328"/>
                <a:gd name="T55" fmla="*/ 2147483647 h 208"/>
                <a:gd name="T56" fmla="*/ 2147483647 w 328"/>
                <a:gd name="T57" fmla="*/ 2147483647 h 208"/>
                <a:gd name="T58" fmla="*/ 2147483647 w 328"/>
                <a:gd name="T59" fmla="*/ 2147483647 h 208"/>
                <a:gd name="T60" fmla="*/ 2147483647 w 328"/>
                <a:gd name="T61" fmla="*/ 2147483647 h 208"/>
                <a:gd name="T62" fmla="*/ 2147483647 w 328"/>
                <a:gd name="T63" fmla="*/ 2147483647 h 208"/>
                <a:gd name="T64" fmla="*/ 2147483647 w 328"/>
                <a:gd name="T65" fmla="*/ 2147483647 h 208"/>
                <a:gd name="T66" fmla="*/ 2147483647 w 328"/>
                <a:gd name="T67" fmla="*/ 2147483647 h 208"/>
                <a:gd name="T68" fmla="*/ 2147483647 w 328"/>
                <a:gd name="T69" fmla="*/ 2147483647 h 208"/>
                <a:gd name="T70" fmla="*/ 2147483647 w 328"/>
                <a:gd name="T71" fmla="*/ 2147483647 h 208"/>
                <a:gd name="T72" fmla="*/ 2147483647 w 328"/>
                <a:gd name="T73" fmla="*/ 2147483647 h 208"/>
                <a:gd name="T74" fmla="*/ 0 w 328"/>
                <a:gd name="T75" fmla="*/ 2147483647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8"/>
                <a:gd name="T115" fmla="*/ 0 h 208"/>
                <a:gd name="T116" fmla="*/ 328 w 328"/>
                <a:gd name="T117" fmla="*/ 208 h 20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8" h="208">
                  <a:moveTo>
                    <a:pt x="0" y="80"/>
                  </a:moveTo>
                  <a:lnTo>
                    <a:pt x="0" y="56"/>
                  </a:lnTo>
                  <a:lnTo>
                    <a:pt x="25" y="32"/>
                  </a:lnTo>
                  <a:lnTo>
                    <a:pt x="50" y="48"/>
                  </a:lnTo>
                  <a:lnTo>
                    <a:pt x="67" y="32"/>
                  </a:lnTo>
                  <a:lnTo>
                    <a:pt x="92" y="24"/>
                  </a:lnTo>
                  <a:lnTo>
                    <a:pt x="101" y="32"/>
                  </a:lnTo>
                  <a:lnTo>
                    <a:pt x="117" y="40"/>
                  </a:lnTo>
                  <a:lnTo>
                    <a:pt x="134" y="48"/>
                  </a:lnTo>
                  <a:lnTo>
                    <a:pt x="160" y="40"/>
                  </a:lnTo>
                  <a:lnTo>
                    <a:pt x="210" y="40"/>
                  </a:lnTo>
                  <a:lnTo>
                    <a:pt x="235" y="32"/>
                  </a:lnTo>
                  <a:lnTo>
                    <a:pt x="252" y="16"/>
                  </a:lnTo>
                  <a:lnTo>
                    <a:pt x="261" y="16"/>
                  </a:lnTo>
                  <a:lnTo>
                    <a:pt x="286" y="24"/>
                  </a:lnTo>
                  <a:lnTo>
                    <a:pt x="294" y="8"/>
                  </a:lnTo>
                  <a:lnTo>
                    <a:pt x="320" y="0"/>
                  </a:lnTo>
                  <a:lnTo>
                    <a:pt x="328" y="16"/>
                  </a:lnTo>
                  <a:lnTo>
                    <a:pt x="311" y="56"/>
                  </a:lnTo>
                  <a:lnTo>
                    <a:pt x="303" y="80"/>
                  </a:lnTo>
                  <a:lnTo>
                    <a:pt x="286" y="104"/>
                  </a:lnTo>
                  <a:lnTo>
                    <a:pt x="286" y="112"/>
                  </a:lnTo>
                  <a:lnTo>
                    <a:pt x="303" y="128"/>
                  </a:lnTo>
                  <a:lnTo>
                    <a:pt x="320" y="160"/>
                  </a:lnTo>
                  <a:lnTo>
                    <a:pt x="303" y="176"/>
                  </a:lnTo>
                  <a:lnTo>
                    <a:pt x="303" y="208"/>
                  </a:lnTo>
                  <a:lnTo>
                    <a:pt x="269" y="200"/>
                  </a:lnTo>
                  <a:lnTo>
                    <a:pt x="227" y="192"/>
                  </a:lnTo>
                  <a:lnTo>
                    <a:pt x="202" y="152"/>
                  </a:lnTo>
                  <a:lnTo>
                    <a:pt x="168" y="160"/>
                  </a:lnTo>
                  <a:lnTo>
                    <a:pt x="143" y="144"/>
                  </a:lnTo>
                  <a:lnTo>
                    <a:pt x="126" y="128"/>
                  </a:lnTo>
                  <a:lnTo>
                    <a:pt x="109" y="128"/>
                  </a:lnTo>
                  <a:lnTo>
                    <a:pt x="84" y="112"/>
                  </a:lnTo>
                  <a:lnTo>
                    <a:pt x="67" y="112"/>
                  </a:lnTo>
                  <a:lnTo>
                    <a:pt x="50" y="96"/>
                  </a:lnTo>
                  <a:lnTo>
                    <a:pt x="25" y="104"/>
                  </a:lnTo>
                  <a:lnTo>
                    <a:pt x="0" y="8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42" name="Freeform 21"/>
            <p:cNvSpPr>
              <a:spLocks/>
            </p:cNvSpPr>
            <p:nvPr/>
          </p:nvSpPr>
          <p:spPr bwMode="auto">
            <a:xfrm>
              <a:off x="5045075" y="3170238"/>
              <a:ext cx="133350" cy="211138"/>
            </a:xfrm>
            <a:custGeom>
              <a:avLst/>
              <a:gdLst>
                <a:gd name="T0" fmla="*/ 0 w 109"/>
                <a:gd name="T1" fmla="*/ 2147483647 h 176"/>
                <a:gd name="T2" fmla="*/ 2147483647 w 109"/>
                <a:gd name="T3" fmla="*/ 2147483647 h 176"/>
                <a:gd name="T4" fmla="*/ 2147483647 w 109"/>
                <a:gd name="T5" fmla="*/ 2147483647 h 176"/>
                <a:gd name="T6" fmla="*/ 2147483647 w 109"/>
                <a:gd name="T7" fmla="*/ 2147483647 h 176"/>
                <a:gd name="T8" fmla="*/ 2147483647 w 109"/>
                <a:gd name="T9" fmla="*/ 2147483647 h 176"/>
                <a:gd name="T10" fmla="*/ 2147483647 w 109"/>
                <a:gd name="T11" fmla="*/ 2147483647 h 176"/>
                <a:gd name="T12" fmla="*/ 2147483647 w 109"/>
                <a:gd name="T13" fmla="*/ 2147483647 h 176"/>
                <a:gd name="T14" fmla="*/ 2147483647 w 109"/>
                <a:gd name="T15" fmla="*/ 2147483647 h 176"/>
                <a:gd name="T16" fmla="*/ 2147483647 w 109"/>
                <a:gd name="T17" fmla="*/ 0 h 176"/>
                <a:gd name="T18" fmla="*/ 2147483647 w 109"/>
                <a:gd name="T19" fmla="*/ 2147483647 h 176"/>
                <a:gd name="T20" fmla="*/ 2147483647 w 109"/>
                <a:gd name="T21" fmla="*/ 2147483647 h 176"/>
                <a:gd name="T22" fmla="*/ 2147483647 w 109"/>
                <a:gd name="T23" fmla="*/ 2147483647 h 176"/>
                <a:gd name="T24" fmla="*/ 2147483647 w 109"/>
                <a:gd name="T25" fmla="*/ 2147483647 h 176"/>
                <a:gd name="T26" fmla="*/ 0 w 109"/>
                <a:gd name="T27" fmla="*/ 2147483647 h 176"/>
                <a:gd name="T28" fmla="*/ 2147483647 w 109"/>
                <a:gd name="T29" fmla="*/ 2147483647 h 176"/>
                <a:gd name="T30" fmla="*/ 2147483647 w 109"/>
                <a:gd name="T31" fmla="*/ 2147483647 h 176"/>
                <a:gd name="T32" fmla="*/ 2147483647 w 109"/>
                <a:gd name="T33" fmla="*/ 2147483647 h 176"/>
                <a:gd name="T34" fmla="*/ 2147483647 w 109"/>
                <a:gd name="T35" fmla="*/ 2147483647 h 176"/>
                <a:gd name="T36" fmla="*/ 2147483647 w 109"/>
                <a:gd name="T37" fmla="*/ 2147483647 h 176"/>
                <a:gd name="T38" fmla="*/ 0 w 109"/>
                <a:gd name="T39" fmla="*/ 2147483647 h 1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9"/>
                <a:gd name="T61" fmla="*/ 0 h 176"/>
                <a:gd name="T62" fmla="*/ 109 w 109"/>
                <a:gd name="T63" fmla="*/ 176 h 1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9" h="176">
                  <a:moveTo>
                    <a:pt x="0" y="168"/>
                  </a:moveTo>
                  <a:lnTo>
                    <a:pt x="50" y="176"/>
                  </a:lnTo>
                  <a:lnTo>
                    <a:pt x="76" y="144"/>
                  </a:lnTo>
                  <a:lnTo>
                    <a:pt x="76" y="112"/>
                  </a:lnTo>
                  <a:lnTo>
                    <a:pt x="109" y="96"/>
                  </a:lnTo>
                  <a:lnTo>
                    <a:pt x="92" y="72"/>
                  </a:lnTo>
                  <a:lnTo>
                    <a:pt x="109" y="64"/>
                  </a:lnTo>
                  <a:lnTo>
                    <a:pt x="101" y="8"/>
                  </a:lnTo>
                  <a:lnTo>
                    <a:pt x="84" y="0"/>
                  </a:lnTo>
                  <a:lnTo>
                    <a:pt x="67" y="16"/>
                  </a:lnTo>
                  <a:lnTo>
                    <a:pt x="59" y="48"/>
                  </a:lnTo>
                  <a:lnTo>
                    <a:pt x="42" y="16"/>
                  </a:lnTo>
                  <a:lnTo>
                    <a:pt x="8" y="40"/>
                  </a:lnTo>
                  <a:lnTo>
                    <a:pt x="0" y="48"/>
                  </a:lnTo>
                  <a:lnTo>
                    <a:pt x="8" y="72"/>
                  </a:lnTo>
                  <a:lnTo>
                    <a:pt x="42" y="88"/>
                  </a:lnTo>
                  <a:lnTo>
                    <a:pt x="50" y="112"/>
                  </a:lnTo>
                  <a:lnTo>
                    <a:pt x="33" y="144"/>
                  </a:lnTo>
                  <a:lnTo>
                    <a:pt x="8" y="136"/>
                  </a:lnTo>
                  <a:lnTo>
                    <a:pt x="0" y="168"/>
                  </a:lnTo>
                  <a:close/>
                </a:path>
              </a:pathLst>
            </a:custGeom>
            <a:solidFill>
              <a:schemeClr val="bg1"/>
            </a:solidFill>
            <a:ln w="12700">
              <a:solidFill>
                <a:srgbClr val="000000"/>
              </a:solidFill>
              <a:round/>
              <a:headEnd/>
              <a:tailEnd/>
            </a:ln>
          </p:spPr>
          <p:txBody>
            <a:bodyPr/>
            <a:lstStyle/>
            <a:p>
              <a:endParaRPr lang="en-US"/>
            </a:p>
          </p:txBody>
        </p:sp>
        <p:sp>
          <p:nvSpPr>
            <p:cNvPr id="34843" name="Freeform 22"/>
            <p:cNvSpPr>
              <a:spLocks/>
            </p:cNvSpPr>
            <p:nvPr/>
          </p:nvSpPr>
          <p:spPr bwMode="auto">
            <a:xfrm>
              <a:off x="5283200" y="5719763"/>
              <a:ext cx="400050" cy="249238"/>
            </a:xfrm>
            <a:custGeom>
              <a:avLst/>
              <a:gdLst>
                <a:gd name="T0" fmla="*/ 0 w 328"/>
                <a:gd name="T1" fmla="*/ 2147483647 h 208"/>
                <a:gd name="T2" fmla="*/ 0 w 328"/>
                <a:gd name="T3" fmla="*/ 2147483647 h 208"/>
                <a:gd name="T4" fmla="*/ 2147483647 w 328"/>
                <a:gd name="T5" fmla="*/ 2147483647 h 208"/>
                <a:gd name="T6" fmla="*/ 2147483647 w 328"/>
                <a:gd name="T7" fmla="*/ 2147483647 h 208"/>
                <a:gd name="T8" fmla="*/ 2147483647 w 328"/>
                <a:gd name="T9" fmla="*/ 2147483647 h 208"/>
                <a:gd name="T10" fmla="*/ 2147483647 w 328"/>
                <a:gd name="T11" fmla="*/ 2147483647 h 208"/>
                <a:gd name="T12" fmla="*/ 2147483647 w 328"/>
                <a:gd name="T13" fmla="*/ 2147483647 h 208"/>
                <a:gd name="T14" fmla="*/ 2147483647 w 328"/>
                <a:gd name="T15" fmla="*/ 2147483647 h 208"/>
                <a:gd name="T16" fmla="*/ 2147483647 w 328"/>
                <a:gd name="T17" fmla="*/ 2147483647 h 208"/>
                <a:gd name="T18" fmla="*/ 2147483647 w 328"/>
                <a:gd name="T19" fmla="*/ 2147483647 h 208"/>
                <a:gd name="T20" fmla="*/ 2147483647 w 328"/>
                <a:gd name="T21" fmla="*/ 2147483647 h 208"/>
                <a:gd name="T22" fmla="*/ 2147483647 w 328"/>
                <a:gd name="T23" fmla="*/ 2147483647 h 208"/>
                <a:gd name="T24" fmla="*/ 2147483647 w 328"/>
                <a:gd name="T25" fmla="*/ 2147483647 h 208"/>
                <a:gd name="T26" fmla="*/ 2147483647 w 328"/>
                <a:gd name="T27" fmla="*/ 2147483647 h 208"/>
                <a:gd name="T28" fmla="*/ 2147483647 w 328"/>
                <a:gd name="T29" fmla="*/ 2147483647 h 208"/>
                <a:gd name="T30" fmla="*/ 2147483647 w 328"/>
                <a:gd name="T31" fmla="*/ 2147483647 h 208"/>
                <a:gd name="T32" fmla="*/ 2147483647 w 328"/>
                <a:gd name="T33" fmla="*/ 0 h 208"/>
                <a:gd name="T34" fmla="*/ 2147483647 w 328"/>
                <a:gd name="T35" fmla="*/ 2147483647 h 208"/>
                <a:gd name="T36" fmla="*/ 2147483647 w 328"/>
                <a:gd name="T37" fmla="*/ 2147483647 h 208"/>
                <a:gd name="T38" fmla="*/ 2147483647 w 328"/>
                <a:gd name="T39" fmla="*/ 2147483647 h 208"/>
                <a:gd name="T40" fmla="*/ 2147483647 w 328"/>
                <a:gd name="T41" fmla="*/ 2147483647 h 208"/>
                <a:gd name="T42" fmla="*/ 2147483647 w 328"/>
                <a:gd name="T43" fmla="*/ 2147483647 h 208"/>
                <a:gd name="T44" fmla="*/ 2147483647 w 328"/>
                <a:gd name="T45" fmla="*/ 2147483647 h 208"/>
                <a:gd name="T46" fmla="*/ 2147483647 w 328"/>
                <a:gd name="T47" fmla="*/ 2147483647 h 208"/>
                <a:gd name="T48" fmla="*/ 2147483647 w 328"/>
                <a:gd name="T49" fmla="*/ 2147483647 h 208"/>
                <a:gd name="T50" fmla="*/ 2147483647 w 328"/>
                <a:gd name="T51" fmla="*/ 2147483647 h 208"/>
                <a:gd name="T52" fmla="*/ 2147483647 w 328"/>
                <a:gd name="T53" fmla="*/ 2147483647 h 208"/>
                <a:gd name="T54" fmla="*/ 2147483647 w 328"/>
                <a:gd name="T55" fmla="*/ 2147483647 h 208"/>
                <a:gd name="T56" fmla="*/ 2147483647 w 328"/>
                <a:gd name="T57" fmla="*/ 2147483647 h 208"/>
                <a:gd name="T58" fmla="*/ 2147483647 w 328"/>
                <a:gd name="T59" fmla="*/ 2147483647 h 208"/>
                <a:gd name="T60" fmla="*/ 2147483647 w 328"/>
                <a:gd name="T61" fmla="*/ 2147483647 h 208"/>
                <a:gd name="T62" fmla="*/ 2147483647 w 328"/>
                <a:gd name="T63" fmla="*/ 2147483647 h 208"/>
                <a:gd name="T64" fmla="*/ 2147483647 w 328"/>
                <a:gd name="T65" fmla="*/ 2147483647 h 208"/>
                <a:gd name="T66" fmla="*/ 2147483647 w 328"/>
                <a:gd name="T67" fmla="*/ 2147483647 h 208"/>
                <a:gd name="T68" fmla="*/ 2147483647 w 328"/>
                <a:gd name="T69" fmla="*/ 2147483647 h 208"/>
                <a:gd name="T70" fmla="*/ 2147483647 w 328"/>
                <a:gd name="T71" fmla="*/ 2147483647 h 208"/>
                <a:gd name="T72" fmla="*/ 2147483647 w 328"/>
                <a:gd name="T73" fmla="*/ 2147483647 h 208"/>
                <a:gd name="T74" fmla="*/ 0 w 328"/>
                <a:gd name="T75" fmla="*/ 2147483647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8"/>
                <a:gd name="T115" fmla="*/ 0 h 208"/>
                <a:gd name="T116" fmla="*/ 328 w 328"/>
                <a:gd name="T117" fmla="*/ 208 h 20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8" h="208">
                  <a:moveTo>
                    <a:pt x="0" y="80"/>
                  </a:moveTo>
                  <a:lnTo>
                    <a:pt x="0" y="56"/>
                  </a:lnTo>
                  <a:lnTo>
                    <a:pt x="25" y="32"/>
                  </a:lnTo>
                  <a:lnTo>
                    <a:pt x="50" y="48"/>
                  </a:lnTo>
                  <a:lnTo>
                    <a:pt x="67" y="32"/>
                  </a:lnTo>
                  <a:lnTo>
                    <a:pt x="92" y="24"/>
                  </a:lnTo>
                  <a:lnTo>
                    <a:pt x="101" y="32"/>
                  </a:lnTo>
                  <a:lnTo>
                    <a:pt x="117" y="40"/>
                  </a:lnTo>
                  <a:lnTo>
                    <a:pt x="134" y="48"/>
                  </a:lnTo>
                  <a:lnTo>
                    <a:pt x="160" y="40"/>
                  </a:lnTo>
                  <a:lnTo>
                    <a:pt x="210" y="40"/>
                  </a:lnTo>
                  <a:lnTo>
                    <a:pt x="235" y="32"/>
                  </a:lnTo>
                  <a:lnTo>
                    <a:pt x="252" y="16"/>
                  </a:lnTo>
                  <a:lnTo>
                    <a:pt x="261" y="16"/>
                  </a:lnTo>
                  <a:lnTo>
                    <a:pt x="286" y="24"/>
                  </a:lnTo>
                  <a:lnTo>
                    <a:pt x="294" y="8"/>
                  </a:lnTo>
                  <a:lnTo>
                    <a:pt x="320" y="0"/>
                  </a:lnTo>
                  <a:lnTo>
                    <a:pt x="328" y="16"/>
                  </a:lnTo>
                  <a:lnTo>
                    <a:pt x="311" y="56"/>
                  </a:lnTo>
                  <a:lnTo>
                    <a:pt x="303" y="80"/>
                  </a:lnTo>
                  <a:lnTo>
                    <a:pt x="286" y="104"/>
                  </a:lnTo>
                  <a:lnTo>
                    <a:pt x="286" y="112"/>
                  </a:lnTo>
                  <a:lnTo>
                    <a:pt x="303" y="128"/>
                  </a:lnTo>
                  <a:lnTo>
                    <a:pt x="320" y="160"/>
                  </a:lnTo>
                  <a:lnTo>
                    <a:pt x="303" y="176"/>
                  </a:lnTo>
                  <a:lnTo>
                    <a:pt x="303" y="208"/>
                  </a:lnTo>
                  <a:lnTo>
                    <a:pt x="269" y="200"/>
                  </a:lnTo>
                  <a:lnTo>
                    <a:pt x="227" y="192"/>
                  </a:lnTo>
                  <a:lnTo>
                    <a:pt x="202" y="152"/>
                  </a:lnTo>
                  <a:lnTo>
                    <a:pt x="168" y="160"/>
                  </a:lnTo>
                  <a:lnTo>
                    <a:pt x="143" y="144"/>
                  </a:lnTo>
                  <a:lnTo>
                    <a:pt x="126" y="128"/>
                  </a:lnTo>
                  <a:lnTo>
                    <a:pt x="109" y="128"/>
                  </a:lnTo>
                  <a:lnTo>
                    <a:pt x="84" y="112"/>
                  </a:lnTo>
                  <a:lnTo>
                    <a:pt x="67" y="112"/>
                  </a:lnTo>
                  <a:lnTo>
                    <a:pt x="50" y="96"/>
                  </a:lnTo>
                  <a:lnTo>
                    <a:pt x="25" y="104"/>
                  </a:lnTo>
                  <a:lnTo>
                    <a:pt x="0" y="80"/>
                  </a:lnTo>
                  <a:close/>
                </a:path>
              </a:pathLst>
            </a:custGeom>
            <a:solidFill>
              <a:srgbClr val="003399"/>
            </a:solidFill>
            <a:ln w="12700">
              <a:solidFill>
                <a:srgbClr val="000000"/>
              </a:solidFill>
              <a:round/>
              <a:headEnd/>
              <a:tailEnd/>
            </a:ln>
          </p:spPr>
          <p:txBody>
            <a:bodyPr/>
            <a:lstStyle/>
            <a:p>
              <a:endParaRPr lang="en-US"/>
            </a:p>
          </p:txBody>
        </p:sp>
        <p:sp>
          <p:nvSpPr>
            <p:cNvPr id="34844" name="Freeform 23"/>
            <p:cNvSpPr>
              <a:spLocks/>
            </p:cNvSpPr>
            <p:nvPr/>
          </p:nvSpPr>
          <p:spPr bwMode="auto">
            <a:xfrm>
              <a:off x="6808788" y="5902325"/>
              <a:ext cx="379413" cy="85725"/>
            </a:xfrm>
            <a:custGeom>
              <a:avLst/>
              <a:gdLst>
                <a:gd name="T0" fmla="*/ 0 w 311"/>
                <a:gd name="T1" fmla="*/ 2147483647 h 72"/>
                <a:gd name="T2" fmla="*/ 2147483647 w 311"/>
                <a:gd name="T3" fmla="*/ 2147483647 h 72"/>
                <a:gd name="T4" fmla="*/ 2147483647 w 311"/>
                <a:gd name="T5" fmla="*/ 2147483647 h 72"/>
                <a:gd name="T6" fmla="*/ 2147483647 w 311"/>
                <a:gd name="T7" fmla="*/ 2147483647 h 72"/>
                <a:gd name="T8" fmla="*/ 2147483647 w 311"/>
                <a:gd name="T9" fmla="*/ 2147483647 h 72"/>
                <a:gd name="T10" fmla="*/ 2147483647 w 311"/>
                <a:gd name="T11" fmla="*/ 2147483647 h 72"/>
                <a:gd name="T12" fmla="*/ 2147483647 w 311"/>
                <a:gd name="T13" fmla="*/ 2147483647 h 72"/>
                <a:gd name="T14" fmla="*/ 2147483647 w 311"/>
                <a:gd name="T15" fmla="*/ 2147483647 h 72"/>
                <a:gd name="T16" fmla="*/ 2147483647 w 311"/>
                <a:gd name="T17" fmla="*/ 2147483647 h 72"/>
                <a:gd name="T18" fmla="*/ 2147483647 w 311"/>
                <a:gd name="T19" fmla="*/ 2147483647 h 72"/>
                <a:gd name="T20" fmla="*/ 2147483647 w 311"/>
                <a:gd name="T21" fmla="*/ 2147483647 h 72"/>
                <a:gd name="T22" fmla="*/ 2147483647 w 311"/>
                <a:gd name="T23" fmla="*/ 2147483647 h 72"/>
                <a:gd name="T24" fmla="*/ 2147483647 w 311"/>
                <a:gd name="T25" fmla="*/ 0 h 72"/>
                <a:gd name="T26" fmla="*/ 2147483647 w 311"/>
                <a:gd name="T27" fmla="*/ 2147483647 h 72"/>
                <a:gd name="T28" fmla="*/ 2147483647 w 311"/>
                <a:gd name="T29" fmla="*/ 2147483647 h 72"/>
                <a:gd name="T30" fmla="*/ 2147483647 w 311"/>
                <a:gd name="T31" fmla="*/ 2147483647 h 72"/>
                <a:gd name="T32" fmla="*/ 2147483647 w 311"/>
                <a:gd name="T33" fmla="*/ 2147483647 h 72"/>
                <a:gd name="T34" fmla="*/ 2147483647 w 311"/>
                <a:gd name="T35" fmla="*/ 2147483647 h 72"/>
                <a:gd name="T36" fmla="*/ 2147483647 w 311"/>
                <a:gd name="T37" fmla="*/ 2147483647 h 72"/>
                <a:gd name="T38" fmla="*/ 2147483647 w 311"/>
                <a:gd name="T39" fmla="*/ 2147483647 h 72"/>
                <a:gd name="T40" fmla="*/ 2147483647 w 311"/>
                <a:gd name="T41" fmla="*/ 2147483647 h 72"/>
                <a:gd name="T42" fmla="*/ 2147483647 w 311"/>
                <a:gd name="T43" fmla="*/ 2147483647 h 72"/>
                <a:gd name="T44" fmla="*/ 2147483647 w 311"/>
                <a:gd name="T45" fmla="*/ 2147483647 h 72"/>
                <a:gd name="T46" fmla="*/ 2147483647 w 311"/>
                <a:gd name="T47" fmla="*/ 2147483647 h 72"/>
                <a:gd name="T48" fmla="*/ 2147483647 w 311"/>
                <a:gd name="T49" fmla="*/ 2147483647 h 72"/>
                <a:gd name="T50" fmla="*/ 2147483647 w 311"/>
                <a:gd name="T51" fmla="*/ 0 h 72"/>
                <a:gd name="T52" fmla="*/ 2147483647 w 311"/>
                <a:gd name="T53" fmla="*/ 2147483647 h 72"/>
                <a:gd name="T54" fmla="*/ 0 w 311"/>
                <a:gd name="T55" fmla="*/ 2147483647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1"/>
                <a:gd name="T85" fmla="*/ 0 h 72"/>
                <a:gd name="T86" fmla="*/ 311 w 311"/>
                <a:gd name="T87" fmla="*/ 72 h 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1" h="72">
                  <a:moveTo>
                    <a:pt x="0" y="24"/>
                  </a:moveTo>
                  <a:lnTo>
                    <a:pt x="8" y="56"/>
                  </a:lnTo>
                  <a:lnTo>
                    <a:pt x="33" y="64"/>
                  </a:lnTo>
                  <a:lnTo>
                    <a:pt x="67" y="64"/>
                  </a:lnTo>
                  <a:lnTo>
                    <a:pt x="126" y="56"/>
                  </a:lnTo>
                  <a:lnTo>
                    <a:pt x="143" y="56"/>
                  </a:lnTo>
                  <a:lnTo>
                    <a:pt x="143" y="72"/>
                  </a:lnTo>
                  <a:lnTo>
                    <a:pt x="193" y="72"/>
                  </a:lnTo>
                  <a:lnTo>
                    <a:pt x="219" y="56"/>
                  </a:lnTo>
                  <a:lnTo>
                    <a:pt x="252" y="56"/>
                  </a:lnTo>
                  <a:lnTo>
                    <a:pt x="278" y="40"/>
                  </a:lnTo>
                  <a:lnTo>
                    <a:pt x="311" y="32"/>
                  </a:lnTo>
                  <a:lnTo>
                    <a:pt x="311" y="0"/>
                  </a:lnTo>
                  <a:lnTo>
                    <a:pt x="286" y="16"/>
                  </a:lnTo>
                  <a:lnTo>
                    <a:pt x="269" y="24"/>
                  </a:lnTo>
                  <a:lnTo>
                    <a:pt x="252" y="24"/>
                  </a:lnTo>
                  <a:lnTo>
                    <a:pt x="244" y="8"/>
                  </a:lnTo>
                  <a:lnTo>
                    <a:pt x="219" y="16"/>
                  </a:lnTo>
                  <a:lnTo>
                    <a:pt x="168" y="24"/>
                  </a:lnTo>
                  <a:lnTo>
                    <a:pt x="168" y="8"/>
                  </a:lnTo>
                  <a:lnTo>
                    <a:pt x="84" y="40"/>
                  </a:lnTo>
                  <a:lnTo>
                    <a:pt x="75" y="16"/>
                  </a:lnTo>
                  <a:lnTo>
                    <a:pt x="59" y="8"/>
                  </a:lnTo>
                  <a:lnTo>
                    <a:pt x="59" y="24"/>
                  </a:lnTo>
                  <a:lnTo>
                    <a:pt x="33" y="24"/>
                  </a:lnTo>
                  <a:lnTo>
                    <a:pt x="16" y="0"/>
                  </a:lnTo>
                  <a:lnTo>
                    <a:pt x="16" y="16"/>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45" name="Freeform 24"/>
            <p:cNvSpPr>
              <a:spLocks/>
            </p:cNvSpPr>
            <p:nvPr/>
          </p:nvSpPr>
          <p:spPr bwMode="auto">
            <a:xfrm>
              <a:off x="4725988" y="5316538"/>
              <a:ext cx="204788" cy="346075"/>
            </a:xfrm>
            <a:custGeom>
              <a:avLst/>
              <a:gdLst>
                <a:gd name="T0" fmla="*/ 0 w 168"/>
                <a:gd name="T1" fmla="*/ 2147483647 h 288"/>
                <a:gd name="T2" fmla="*/ 2147483647 w 168"/>
                <a:gd name="T3" fmla="*/ 2147483647 h 288"/>
                <a:gd name="T4" fmla="*/ 2147483647 w 168"/>
                <a:gd name="T5" fmla="*/ 2147483647 h 288"/>
                <a:gd name="T6" fmla="*/ 2147483647 w 168"/>
                <a:gd name="T7" fmla="*/ 2147483647 h 288"/>
                <a:gd name="T8" fmla="*/ 2147483647 w 168"/>
                <a:gd name="T9" fmla="*/ 0 h 288"/>
                <a:gd name="T10" fmla="*/ 2147483647 w 168"/>
                <a:gd name="T11" fmla="*/ 2147483647 h 288"/>
                <a:gd name="T12" fmla="*/ 2147483647 w 168"/>
                <a:gd name="T13" fmla="*/ 2147483647 h 288"/>
                <a:gd name="T14" fmla="*/ 2147483647 w 168"/>
                <a:gd name="T15" fmla="*/ 2147483647 h 288"/>
                <a:gd name="T16" fmla="*/ 2147483647 w 168"/>
                <a:gd name="T17" fmla="*/ 2147483647 h 288"/>
                <a:gd name="T18" fmla="*/ 2147483647 w 168"/>
                <a:gd name="T19" fmla="*/ 2147483647 h 288"/>
                <a:gd name="T20" fmla="*/ 2147483647 w 168"/>
                <a:gd name="T21" fmla="*/ 2147483647 h 288"/>
                <a:gd name="T22" fmla="*/ 2147483647 w 168"/>
                <a:gd name="T23" fmla="*/ 2147483647 h 288"/>
                <a:gd name="T24" fmla="*/ 2147483647 w 168"/>
                <a:gd name="T25" fmla="*/ 2147483647 h 288"/>
                <a:gd name="T26" fmla="*/ 2147483647 w 168"/>
                <a:gd name="T27" fmla="*/ 2147483647 h 288"/>
                <a:gd name="T28" fmla="*/ 2147483647 w 168"/>
                <a:gd name="T29" fmla="*/ 2147483647 h 288"/>
                <a:gd name="T30" fmla="*/ 2147483647 w 168"/>
                <a:gd name="T31" fmla="*/ 2147483647 h 288"/>
                <a:gd name="T32" fmla="*/ 2147483647 w 168"/>
                <a:gd name="T33" fmla="*/ 2147483647 h 288"/>
                <a:gd name="T34" fmla="*/ 2147483647 w 168"/>
                <a:gd name="T35" fmla="*/ 2147483647 h 288"/>
                <a:gd name="T36" fmla="*/ 2147483647 w 168"/>
                <a:gd name="T37" fmla="*/ 2147483647 h 288"/>
                <a:gd name="T38" fmla="*/ 2147483647 w 168"/>
                <a:gd name="T39" fmla="*/ 2147483647 h 288"/>
                <a:gd name="T40" fmla="*/ 2147483647 w 168"/>
                <a:gd name="T41" fmla="*/ 2147483647 h 288"/>
                <a:gd name="T42" fmla="*/ 2147483647 w 168"/>
                <a:gd name="T43" fmla="*/ 2147483647 h 288"/>
                <a:gd name="T44" fmla="*/ 2147483647 w 168"/>
                <a:gd name="T45" fmla="*/ 2147483647 h 288"/>
                <a:gd name="T46" fmla="*/ 0 w 168"/>
                <a:gd name="T47" fmla="*/ 2147483647 h 288"/>
                <a:gd name="T48" fmla="*/ 0 w 168"/>
                <a:gd name="T49" fmla="*/ 2147483647 h 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8"/>
                <a:gd name="T76" fmla="*/ 0 h 288"/>
                <a:gd name="T77" fmla="*/ 168 w 168"/>
                <a:gd name="T78" fmla="*/ 288 h 28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8" h="288">
                  <a:moveTo>
                    <a:pt x="0" y="40"/>
                  </a:moveTo>
                  <a:lnTo>
                    <a:pt x="33" y="48"/>
                  </a:lnTo>
                  <a:lnTo>
                    <a:pt x="59" y="40"/>
                  </a:lnTo>
                  <a:lnTo>
                    <a:pt x="101" y="8"/>
                  </a:lnTo>
                  <a:lnTo>
                    <a:pt x="109" y="0"/>
                  </a:lnTo>
                  <a:lnTo>
                    <a:pt x="143" y="16"/>
                  </a:lnTo>
                  <a:lnTo>
                    <a:pt x="143" y="32"/>
                  </a:lnTo>
                  <a:lnTo>
                    <a:pt x="168" y="96"/>
                  </a:lnTo>
                  <a:lnTo>
                    <a:pt x="151" y="120"/>
                  </a:lnTo>
                  <a:lnTo>
                    <a:pt x="168" y="152"/>
                  </a:lnTo>
                  <a:lnTo>
                    <a:pt x="143" y="256"/>
                  </a:lnTo>
                  <a:lnTo>
                    <a:pt x="117" y="248"/>
                  </a:lnTo>
                  <a:lnTo>
                    <a:pt x="92" y="248"/>
                  </a:lnTo>
                  <a:lnTo>
                    <a:pt x="84" y="264"/>
                  </a:lnTo>
                  <a:lnTo>
                    <a:pt x="67" y="280"/>
                  </a:lnTo>
                  <a:lnTo>
                    <a:pt x="42" y="288"/>
                  </a:lnTo>
                  <a:lnTo>
                    <a:pt x="25" y="248"/>
                  </a:lnTo>
                  <a:lnTo>
                    <a:pt x="25" y="200"/>
                  </a:lnTo>
                  <a:lnTo>
                    <a:pt x="33" y="176"/>
                  </a:lnTo>
                  <a:lnTo>
                    <a:pt x="25" y="160"/>
                  </a:lnTo>
                  <a:lnTo>
                    <a:pt x="33" y="136"/>
                  </a:lnTo>
                  <a:lnTo>
                    <a:pt x="33" y="112"/>
                  </a:lnTo>
                  <a:lnTo>
                    <a:pt x="25" y="80"/>
                  </a:lnTo>
                  <a:lnTo>
                    <a:pt x="0" y="72"/>
                  </a:lnTo>
                  <a:lnTo>
                    <a:pt x="0" y="40"/>
                  </a:lnTo>
                  <a:close/>
                </a:path>
              </a:pathLst>
            </a:custGeom>
            <a:solidFill>
              <a:srgbClr val="00339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46" name="Freeform 25"/>
            <p:cNvSpPr>
              <a:spLocks/>
            </p:cNvSpPr>
            <p:nvPr/>
          </p:nvSpPr>
          <p:spPr bwMode="auto">
            <a:xfrm>
              <a:off x="6808788" y="5902325"/>
              <a:ext cx="379413" cy="85725"/>
            </a:xfrm>
            <a:custGeom>
              <a:avLst/>
              <a:gdLst>
                <a:gd name="T0" fmla="*/ 0 w 311"/>
                <a:gd name="T1" fmla="*/ 2147483647 h 72"/>
                <a:gd name="T2" fmla="*/ 2147483647 w 311"/>
                <a:gd name="T3" fmla="*/ 2147483647 h 72"/>
                <a:gd name="T4" fmla="*/ 2147483647 w 311"/>
                <a:gd name="T5" fmla="*/ 2147483647 h 72"/>
                <a:gd name="T6" fmla="*/ 2147483647 w 311"/>
                <a:gd name="T7" fmla="*/ 2147483647 h 72"/>
                <a:gd name="T8" fmla="*/ 2147483647 w 311"/>
                <a:gd name="T9" fmla="*/ 2147483647 h 72"/>
                <a:gd name="T10" fmla="*/ 2147483647 w 311"/>
                <a:gd name="T11" fmla="*/ 2147483647 h 72"/>
                <a:gd name="T12" fmla="*/ 2147483647 w 311"/>
                <a:gd name="T13" fmla="*/ 2147483647 h 72"/>
                <a:gd name="T14" fmla="*/ 2147483647 w 311"/>
                <a:gd name="T15" fmla="*/ 2147483647 h 72"/>
                <a:gd name="T16" fmla="*/ 2147483647 w 311"/>
                <a:gd name="T17" fmla="*/ 2147483647 h 72"/>
                <a:gd name="T18" fmla="*/ 2147483647 w 311"/>
                <a:gd name="T19" fmla="*/ 2147483647 h 72"/>
                <a:gd name="T20" fmla="*/ 2147483647 w 311"/>
                <a:gd name="T21" fmla="*/ 2147483647 h 72"/>
                <a:gd name="T22" fmla="*/ 2147483647 w 311"/>
                <a:gd name="T23" fmla="*/ 2147483647 h 72"/>
                <a:gd name="T24" fmla="*/ 2147483647 w 311"/>
                <a:gd name="T25" fmla="*/ 0 h 72"/>
                <a:gd name="T26" fmla="*/ 2147483647 w 311"/>
                <a:gd name="T27" fmla="*/ 2147483647 h 72"/>
                <a:gd name="T28" fmla="*/ 2147483647 w 311"/>
                <a:gd name="T29" fmla="*/ 2147483647 h 72"/>
                <a:gd name="T30" fmla="*/ 2147483647 w 311"/>
                <a:gd name="T31" fmla="*/ 2147483647 h 72"/>
                <a:gd name="T32" fmla="*/ 2147483647 w 311"/>
                <a:gd name="T33" fmla="*/ 2147483647 h 72"/>
                <a:gd name="T34" fmla="*/ 2147483647 w 311"/>
                <a:gd name="T35" fmla="*/ 2147483647 h 72"/>
                <a:gd name="T36" fmla="*/ 2147483647 w 311"/>
                <a:gd name="T37" fmla="*/ 2147483647 h 72"/>
                <a:gd name="T38" fmla="*/ 2147483647 w 311"/>
                <a:gd name="T39" fmla="*/ 2147483647 h 72"/>
                <a:gd name="T40" fmla="*/ 2147483647 w 311"/>
                <a:gd name="T41" fmla="*/ 2147483647 h 72"/>
                <a:gd name="T42" fmla="*/ 2147483647 w 311"/>
                <a:gd name="T43" fmla="*/ 2147483647 h 72"/>
                <a:gd name="T44" fmla="*/ 2147483647 w 311"/>
                <a:gd name="T45" fmla="*/ 2147483647 h 72"/>
                <a:gd name="T46" fmla="*/ 2147483647 w 311"/>
                <a:gd name="T47" fmla="*/ 2147483647 h 72"/>
                <a:gd name="T48" fmla="*/ 2147483647 w 311"/>
                <a:gd name="T49" fmla="*/ 2147483647 h 72"/>
                <a:gd name="T50" fmla="*/ 2147483647 w 311"/>
                <a:gd name="T51" fmla="*/ 0 h 72"/>
                <a:gd name="T52" fmla="*/ 2147483647 w 311"/>
                <a:gd name="T53" fmla="*/ 2147483647 h 72"/>
                <a:gd name="T54" fmla="*/ 0 w 311"/>
                <a:gd name="T55" fmla="*/ 2147483647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1"/>
                <a:gd name="T85" fmla="*/ 0 h 72"/>
                <a:gd name="T86" fmla="*/ 311 w 311"/>
                <a:gd name="T87" fmla="*/ 72 h 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1" h="72">
                  <a:moveTo>
                    <a:pt x="0" y="24"/>
                  </a:moveTo>
                  <a:lnTo>
                    <a:pt x="8" y="56"/>
                  </a:lnTo>
                  <a:lnTo>
                    <a:pt x="33" y="64"/>
                  </a:lnTo>
                  <a:lnTo>
                    <a:pt x="67" y="64"/>
                  </a:lnTo>
                  <a:lnTo>
                    <a:pt x="126" y="56"/>
                  </a:lnTo>
                  <a:lnTo>
                    <a:pt x="143" y="56"/>
                  </a:lnTo>
                  <a:lnTo>
                    <a:pt x="143" y="72"/>
                  </a:lnTo>
                  <a:lnTo>
                    <a:pt x="193" y="72"/>
                  </a:lnTo>
                  <a:lnTo>
                    <a:pt x="219" y="56"/>
                  </a:lnTo>
                  <a:lnTo>
                    <a:pt x="252" y="56"/>
                  </a:lnTo>
                  <a:lnTo>
                    <a:pt x="278" y="40"/>
                  </a:lnTo>
                  <a:lnTo>
                    <a:pt x="311" y="32"/>
                  </a:lnTo>
                  <a:lnTo>
                    <a:pt x="311" y="0"/>
                  </a:lnTo>
                  <a:lnTo>
                    <a:pt x="286" y="16"/>
                  </a:lnTo>
                  <a:lnTo>
                    <a:pt x="269" y="24"/>
                  </a:lnTo>
                  <a:lnTo>
                    <a:pt x="252" y="24"/>
                  </a:lnTo>
                  <a:lnTo>
                    <a:pt x="244" y="8"/>
                  </a:lnTo>
                  <a:lnTo>
                    <a:pt x="219" y="16"/>
                  </a:lnTo>
                  <a:lnTo>
                    <a:pt x="168" y="24"/>
                  </a:lnTo>
                  <a:lnTo>
                    <a:pt x="168" y="8"/>
                  </a:lnTo>
                  <a:lnTo>
                    <a:pt x="84" y="40"/>
                  </a:lnTo>
                  <a:lnTo>
                    <a:pt x="75" y="16"/>
                  </a:lnTo>
                  <a:lnTo>
                    <a:pt x="59" y="8"/>
                  </a:lnTo>
                  <a:lnTo>
                    <a:pt x="59" y="24"/>
                  </a:lnTo>
                  <a:lnTo>
                    <a:pt x="33" y="24"/>
                  </a:lnTo>
                  <a:lnTo>
                    <a:pt x="16" y="0"/>
                  </a:lnTo>
                  <a:lnTo>
                    <a:pt x="16" y="16"/>
                  </a:lnTo>
                  <a:lnTo>
                    <a:pt x="0" y="24"/>
                  </a:lnTo>
                  <a:close/>
                </a:path>
              </a:pathLst>
            </a:custGeom>
            <a:solidFill>
              <a:schemeClr val="bg1"/>
            </a:solidFill>
            <a:ln w="12700">
              <a:solidFill>
                <a:srgbClr val="000000"/>
              </a:solidFill>
              <a:round/>
              <a:headEnd/>
              <a:tailEnd/>
            </a:ln>
          </p:spPr>
          <p:txBody>
            <a:bodyPr/>
            <a:lstStyle/>
            <a:p>
              <a:endParaRPr lang="en-US"/>
            </a:p>
          </p:txBody>
        </p:sp>
        <p:sp>
          <p:nvSpPr>
            <p:cNvPr id="34847" name="Freeform 26"/>
            <p:cNvSpPr>
              <a:spLocks/>
            </p:cNvSpPr>
            <p:nvPr/>
          </p:nvSpPr>
          <p:spPr bwMode="auto">
            <a:xfrm>
              <a:off x="4725988" y="5316538"/>
              <a:ext cx="204788" cy="346075"/>
            </a:xfrm>
            <a:custGeom>
              <a:avLst/>
              <a:gdLst>
                <a:gd name="T0" fmla="*/ 0 w 168"/>
                <a:gd name="T1" fmla="*/ 2147483647 h 288"/>
                <a:gd name="T2" fmla="*/ 2147483647 w 168"/>
                <a:gd name="T3" fmla="*/ 2147483647 h 288"/>
                <a:gd name="T4" fmla="*/ 2147483647 w 168"/>
                <a:gd name="T5" fmla="*/ 2147483647 h 288"/>
                <a:gd name="T6" fmla="*/ 2147483647 w 168"/>
                <a:gd name="T7" fmla="*/ 2147483647 h 288"/>
                <a:gd name="T8" fmla="*/ 2147483647 w 168"/>
                <a:gd name="T9" fmla="*/ 0 h 288"/>
                <a:gd name="T10" fmla="*/ 2147483647 w 168"/>
                <a:gd name="T11" fmla="*/ 2147483647 h 288"/>
                <a:gd name="T12" fmla="*/ 2147483647 w 168"/>
                <a:gd name="T13" fmla="*/ 2147483647 h 288"/>
                <a:gd name="T14" fmla="*/ 2147483647 w 168"/>
                <a:gd name="T15" fmla="*/ 2147483647 h 288"/>
                <a:gd name="T16" fmla="*/ 2147483647 w 168"/>
                <a:gd name="T17" fmla="*/ 2147483647 h 288"/>
                <a:gd name="T18" fmla="*/ 2147483647 w 168"/>
                <a:gd name="T19" fmla="*/ 2147483647 h 288"/>
                <a:gd name="T20" fmla="*/ 2147483647 w 168"/>
                <a:gd name="T21" fmla="*/ 2147483647 h 288"/>
                <a:gd name="T22" fmla="*/ 2147483647 w 168"/>
                <a:gd name="T23" fmla="*/ 2147483647 h 288"/>
                <a:gd name="T24" fmla="*/ 2147483647 w 168"/>
                <a:gd name="T25" fmla="*/ 2147483647 h 288"/>
                <a:gd name="T26" fmla="*/ 2147483647 w 168"/>
                <a:gd name="T27" fmla="*/ 2147483647 h 288"/>
                <a:gd name="T28" fmla="*/ 2147483647 w 168"/>
                <a:gd name="T29" fmla="*/ 2147483647 h 288"/>
                <a:gd name="T30" fmla="*/ 2147483647 w 168"/>
                <a:gd name="T31" fmla="*/ 2147483647 h 288"/>
                <a:gd name="T32" fmla="*/ 2147483647 w 168"/>
                <a:gd name="T33" fmla="*/ 2147483647 h 288"/>
                <a:gd name="T34" fmla="*/ 2147483647 w 168"/>
                <a:gd name="T35" fmla="*/ 2147483647 h 288"/>
                <a:gd name="T36" fmla="*/ 2147483647 w 168"/>
                <a:gd name="T37" fmla="*/ 2147483647 h 288"/>
                <a:gd name="T38" fmla="*/ 2147483647 w 168"/>
                <a:gd name="T39" fmla="*/ 2147483647 h 288"/>
                <a:gd name="T40" fmla="*/ 2147483647 w 168"/>
                <a:gd name="T41" fmla="*/ 2147483647 h 288"/>
                <a:gd name="T42" fmla="*/ 2147483647 w 168"/>
                <a:gd name="T43" fmla="*/ 2147483647 h 288"/>
                <a:gd name="T44" fmla="*/ 2147483647 w 168"/>
                <a:gd name="T45" fmla="*/ 2147483647 h 288"/>
                <a:gd name="T46" fmla="*/ 0 w 168"/>
                <a:gd name="T47" fmla="*/ 2147483647 h 288"/>
                <a:gd name="T48" fmla="*/ 0 w 168"/>
                <a:gd name="T49" fmla="*/ 2147483647 h 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8"/>
                <a:gd name="T76" fmla="*/ 0 h 288"/>
                <a:gd name="T77" fmla="*/ 168 w 168"/>
                <a:gd name="T78" fmla="*/ 288 h 28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8" h="288">
                  <a:moveTo>
                    <a:pt x="0" y="40"/>
                  </a:moveTo>
                  <a:lnTo>
                    <a:pt x="33" y="48"/>
                  </a:lnTo>
                  <a:lnTo>
                    <a:pt x="59" y="40"/>
                  </a:lnTo>
                  <a:lnTo>
                    <a:pt x="101" y="8"/>
                  </a:lnTo>
                  <a:lnTo>
                    <a:pt x="109" y="0"/>
                  </a:lnTo>
                  <a:lnTo>
                    <a:pt x="143" y="16"/>
                  </a:lnTo>
                  <a:lnTo>
                    <a:pt x="143" y="32"/>
                  </a:lnTo>
                  <a:lnTo>
                    <a:pt x="168" y="96"/>
                  </a:lnTo>
                  <a:lnTo>
                    <a:pt x="151" y="120"/>
                  </a:lnTo>
                  <a:lnTo>
                    <a:pt x="168" y="152"/>
                  </a:lnTo>
                  <a:lnTo>
                    <a:pt x="143" y="256"/>
                  </a:lnTo>
                  <a:lnTo>
                    <a:pt x="117" y="248"/>
                  </a:lnTo>
                  <a:lnTo>
                    <a:pt x="92" y="248"/>
                  </a:lnTo>
                  <a:lnTo>
                    <a:pt x="84" y="264"/>
                  </a:lnTo>
                  <a:lnTo>
                    <a:pt x="67" y="280"/>
                  </a:lnTo>
                  <a:lnTo>
                    <a:pt x="42" y="288"/>
                  </a:lnTo>
                  <a:lnTo>
                    <a:pt x="25" y="248"/>
                  </a:lnTo>
                  <a:lnTo>
                    <a:pt x="25" y="200"/>
                  </a:lnTo>
                  <a:lnTo>
                    <a:pt x="33" y="176"/>
                  </a:lnTo>
                  <a:lnTo>
                    <a:pt x="25" y="160"/>
                  </a:lnTo>
                  <a:lnTo>
                    <a:pt x="33" y="136"/>
                  </a:lnTo>
                  <a:lnTo>
                    <a:pt x="33" y="112"/>
                  </a:lnTo>
                  <a:lnTo>
                    <a:pt x="25" y="80"/>
                  </a:lnTo>
                  <a:lnTo>
                    <a:pt x="0" y="72"/>
                  </a:lnTo>
                  <a:lnTo>
                    <a:pt x="0" y="40"/>
                  </a:lnTo>
                  <a:close/>
                </a:path>
              </a:pathLst>
            </a:custGeom>
            <a:solidFill>
              <a:srgbClr val="003399"/>
            </a:solidFill>
            <a:ln w="12700">
              <a:solidFill>
                <a:srgbClr val="000000"/>
              </a:solidFill>
              <a:round/>
              <a:headEnd/>
              <a:tailEnd/>
            </a:ln>
          </p:spPr>
          <p:txBody>
            <a:bodyPr/>
            <a:lstStyle/>
            <a:p>
              <a:endParaRPr lang="en-US"/>
            </a:p>
          </p:txBody>
        </p:sp>
        <p:sp>
          <p:nvSpPr>
            <p:cNvPr id="34848" name="Freeform 27"/>
            <p:cNvSpPr>
              <a:spLocks/>
            </p:cNvSpPr>
            <p:nvPr/>
          </p:nvSpPr>
          <p:spPr bwMode="auto">
            <a:xfrm>
              <a:off x="4776788" y="5057775"/>
              <a:ext cx="123825" cy="230188"/>
            </a:xfrm>
            <a:custGeom>
              <a:avLst/>
              <a:gdLst>
                <a:gd name="T0" fmla="*/ 2147483647 w 101"/>
                <a:gd name="T1" fmla="*/ 2147483647 h 192"/>
                <a:gd name="T2" fmla="*/ 2147483647 w 101"/>
                <a:gd name="T3" fmla="*/ 0 h 192"/>
                <a:gd name="T4" fmla="*/ 2147483647 w 101"/>
                <a:gd name="T5" fmla="*/ 0 h 192"/>
                <a:gd name="T6" fmla="*/ 2147483647 w 101"/>
                <a:gd name="T7" fmla="*/ 2147483647 h 192"/>
                <a:gd name="T8" fmla="*/ 2147483647 w 101"/>
                <a:gd name="T9" fmla="*/ 2147483647 h 192"/>
                <a:gd name="T10" fmla="*/ 2147483647 w 101"/>
                <a:gd name="T11" fmla="*/ 2147483647 h 192"/>
                <a:gd name="T12" fmla="*/ 2147483647 w 101"/>
                <a:gd name="T13" fmla="*/ 2147483647 h 192"/>
                <a:gd name="T14" fmla="*/ 2147483647 w 101"/>
                <a:gd name="T15" fmla="*/ 2147483647 h 192"/>
                <a:gd name="T16" fmla="*/ 2147483647 w 101"/>
                <a:gd name="T17" fmla="*/ 2147483647 h 192"/>
                <a:gd name="T18" fmla="*/ 2147483647 w 101"/>
                <a:gd name="T19" fmla="*/ 2147483647 h 192"/>
                <a:gd name="T20" fmla="*/ 2147483647 w 101"/>
                <a:gd name="T21" fmla="*/ 2147483647 h 192"/>
                <a:gd name="T22" fmla="*/ 2147483647 w 101"/>
                <a:gd name="T23" fmla="*/ 2147483647 h 192"/>
                <a:gd name="T24" fmla="*/ 2147483647 w 101"/>
                <a:gd name="T25" fmla="*/ 2147483647 h 192"/>
                <a:gd name="T26" fmla="*/ 2147483647 w 101"/>
                <a:gd name="T27" fmla="*/ 2147483647 h 192"/>
                <a:gd name="T28" fmla="*/ 2147483647 w 101"/>
                <a:gd name="T29" fmla="*/ 2147483647 h 192"/>
                <a:gd name="T30" fmla="*/ 2147483647 w 101"/>
                <a:gd name="T31" fmla="*/ 2147483647 h 192"/>
                <a:gd name="T32" fmla="*/ 2147483647 w 101"/>
                <a:gd name="T33" fmla="*/ 2147483647 h 192"/>
                <a:gd name="T34" fmla="*/ 0 w 101"/>
                <a:gd name="T35" fmla="*/ 2147483647 h 192"/>
                <a:gd name="T36" fmla="*/ 2147483647 w 101"/>
                <a:gd name="T37" fmla="*/ 2147483647 h 192"/>
                <a:gd name="T38" fmla="*/ 2147483647 w 101"/>
                <a:gd name="T39" fmla="*/ 2147483647 h 192"/>
                <a:gd name="T40" fmla="*/ 2147483647 w 101"/>
                <a:gd name="T41" fmla="*/ 2147483647 h 192"/>
                <a:gd name="T42" fmla="*/ 2147483647 w 101"/>
                <a:gd name="T43" fmla="*/ 2147483647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1"/>
                <a:gd name="T67" fmla="*/ 0 h 192"/>
                <a:gd name="T68" fmla="*/ 101 w 101"/>
                <a:gd name="T69" fmla="*/ 192 h 19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1" h="192">
                  <a:moveTo>
                    <a:pt x="75" y="32"/>
                  </a:moveTo>
                  <a:lnTo>
                    <a:pt x="75" y="0"/>
                  </a:lnTo>
                  <a:lnTo>
                    <a:pt x="92" y="0"/>
                  </a:lnTo>
                  <a:lnTo>
                    <a:pt x="92" y="40"/>
                  </a:lnTo>
                  <a:lnTo>
                    <a:pt x="101" y="56"/>
                  </a:lnTo>
                  <a:lnTo>
                    <a:pt x="101" y="104"/>
                  </a:lnTo>
                  <a:lnTo>
                    <a:pt x="92" y="120"/>
                  </a:lnTo>
                  <a:lnTo>
                    <a:pt x="92" y="152"/>
                  </a:lnTo>
                  <a:lnTo>
                    <a:pt x="67" y="192"/>
                  </a:lnTo>
                  <a:lnTo>
                    <a:pt x="50" y="192"/>
                  </a:lnTo>
                  <a:lnTo>
                    <a:pt x="25" y="176"/>
                  </a:lnTo>
                  <a:lnTo>
                    <a:pt x="33" y="160"/>
                  </a:lnTo>
                  <a:lnTo>
                    <a:pt x="17" y="152"/>
                  </a:lnTo>
                  <a:lnTo>
                    <a:pt x="33" y="136"/>
                  </a:lnTo>
                  <a:lnTo>
                    <a:pt x="8" y="128"/>
                  </a:lnTo>
                  <a:lnTo>
                    <a:pt x="25" y="112"/>
                  </a:lnTo>
                  <a:lnTo>
                    <a:pt x="8" y="96"/>
                  </a:lnTo>
                  <a:lnTo>
                    <a:pt x="0" y="72"/>
                  </a:lnTo>
                  <a:lnTo>
                    <a:pt x="17" y="64"/>
                  </a:lnTo>
                  <a:lnTo>
                    <a:pt x="17" y="48"/>
                  </a:lnTo>
                  <a:lnTo>
                    <a:pt x="42" y="40"/>
                  </a:lnTo>
                  <a:lnTo>
                    <a:pt x="75" y="32"/>
                  </a:lnTo>
                  <a:close/>
                </a:path>
              </a:pathLst>
            </a:custGeom>
            <a:solidFill>
              <a:srgbClr val="00339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49" name="Freeform 28"/>
            <p:cNvSpPr>
              <a:spLocks/>
            </p:cNvSpPr>
            <p:nvPr/>
          </p:nvSpPr>
          <p:spPr bwMode="auto">
            <a:xfrm>
              <a:off x="4776788" y="5057775"/>
              <a:ext cx="123825" cy="230188"/>
            </a:xfrm>
            <a:custGeom>
              <a:avLst/>
              <a:gdLst>
                <a:gd name="T0" fmla="*/ 2147483647 w 101"/>
                <a:gd name="T1" fmla="*/ 2147483647 h 192"/>
                <a:gd name="T2" fmla="*/ 2147483647 w 101"/>
                <a:gd name="T3" fmla="*/ 0 h 192"/>
                <a:gd name="T4" fmla="*/ 2147483647 w 101"/>
                <a:gd name="T5" fmla="*/ 0 h 192"/>
                <a:gd name="T6" fmla="*/ 2147483647 w 101"/>
                <a:gd name="T7" fmla="*/ 2147483647 h 192"/>
                <a:gd name="T8" fmla="*/ 2147483647 w 101"/>
                <a:gd name="T9" fmla="*/ 2147483647 h 192"/>
                <a:gd name="T10" fmla="*/ 2147483647 w 101"/>
                <a:gd name="T11" fmla="*/ 2147483647 h 192"/>
                <a:gd name="T12" fmla="*/ 2147483647 w 101"/>
                <a:gd name="T13" fmla="*/ 2147483647 h 192"/>
                <a:gd name="T14" fmla="*/ 2147483647 w 101"/>
                <a:gd name="T15" fmla="*/ 2147483647 h 192"/>
                <a:gd name="T16" fmla="*/ 2147483647 w 101"/>
                <a:gd name="T17" fmla="*/ 2147483647 h 192"/>
                <a:gd name="T18" fmla="*/ 2147483647 w 101"/>
                <a:gd name="T19" fmla="*/ 2147483647 h 192"/>
                <a:gd name="T20" fmla="*/ 2147483647 w 101"/>
                <a:gd name="T21" fmla="*/ 2147483647 h 192"/>
                <a:gd name="T22" fmla="*/ 2147483647 w 101"/>
                <a:gd name="T23" fmla="*/ 2147483647 h 192"/>
                <a:gd name="T24" fmla="*/ 2147483647 w 101"/>
                <a:gd name="T25" fmla="*/ 2147483647 h 192"/>
                <a:gd name="T26" fmla="*/ 2147483647 w 101"/>
                <a:gd name="T27" fmla="*/ 2147483647 h 192"/>
                <a:gd name="T28" fmla="*/ 2147483647 w 101"/>
                <a:gd name="T29" fmla="*/ 2147483647 h 192"/>
                <a:gd name="T30" fmla="*/ 2147483647 w 101"/>
                <a:gd name="T31" fmla="*/ 2147483647 h 192"/>
                <a:gd name="T32" fmla="*/ 2147483647 w 101"/>
                <a:gd name="T33" fmla="*/ 2147483647 h 192"/>
                <a:gd name="T34" fmla="*/ 0 w 101"/>
                <a:gd name="T35" fmla="*/ 2147483647 h 192"/>
                <a:gd name="T36" fmla="*/ 2147483647 w 101"/>
                <a:gd name="T37" fmla="*/ 2147483647 h 192"/>
                <a:gd name="T38" fmla="*/ 2147483647 w 101"/>
                <a:gd name="T39" fmla="*/ 2147483647 h 192"/>
                <a:gd name="T40" fmla="*/ 2147483647 w 101"/>
                <a:gd name="T41" fmla="*/ 2147483647 h 192"/>
                <a:gd name="T42" fmla="*/ 2147483647 w 101"/>
                <a:gd name="T43" fmla="*/ 2147483647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1"/>
                <a:gd name="T67" fmla="*/ 0 h 192"/>
                <a:gd name="T68" fmla="*/ 101 w 101"/>
                <a:gd name="T69" fmla="*/ 192 h 19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1" h="192">
                  <a:moveTo>
                    <a:pt x="75" y="32"/>
                  </a:moveTo>
                  <a:lnTo>
                    <a:pt x="75" y="0"/>
                  </a:lnTo>
                  <a:lnTo>
                    <a:pt x="92" y="0"/>
                  </a:lnTo>
                  <a:lnTo>
                    <a:pt x="92" y="40"/>
                  </a:lnTo>
                  <a:lnTo>
                    <a:pt x="101" y="56"/>
                  </a:lnTo>
                  <a:lnTo>
                    <a:pt x="101" y="104"/>
                  </a:lnTo>
                  <a:lnTo>
                    <a:pt x="92" y="120"/>
                  </a:lnTo>
                  <a:lnTo>
                    <a:pt x="92" y="152"/>
                  </a:lnTo>
                  <a:lnTo>
                    <a:pt x="67" y="192"/>
                  </a:lnTo>
                  <a:lnTo>
                    <a:pt x="50" y="192"/>
                  </a:lnTo>
                  <a:lnTo>
                    <a:pt x="25" y="176"/>
                  </a:lnTo>
                  <a:lnTo>
                    <a:pt x="33" y="160"/>
                  </a:lnTo>
                  <a:lnTo>
                    <a:pt x="17" y="152"/>
                  </a:lnTo>
                  <a:lnTo>
                    <a:pt x="33" y="136"/>
                  </a:lnTo>
                  <a:lnTo>
                    <a:pt x="8" y="128"/>
                  </a:lnTo>
                  <a:lnTo>
                    <a:pt x="25" y="112"/>
                  </a:lnTo>
                  <a:lnTo>
                    <a:pt x="8" y="96"/>
                  </a:lnTo>
                  <a:lnTo>
                    <a:pt x="0" y="72"/>
                  </a:lnTo>
                  <a:lnTo>
                    <a:pt x="17" y="64"/>
                  </a:lnTo>
                  <a:lnTo>
                    <a:pt x="17" y="48"/>
                  </a:lnTo>
                  <a:lnTo>
                    <a:pt x="42" y="40"/>
                  </a:lnTo>
                  <a:lnTo>
                    <a:pt x="75" y="32"/>
                  </a:lnTo>
                  <a:close/>
                </a:path>
              </a:pathLst>
            </a:custGeom>
            <a:solidFill>
              <a:srgbClr val="003399"/>
            </a:solidFill>
            <a:ln w="12700">
              <a:solidFill>
                <a:srgbClr val="000000"/>
              </a:solidFill>
              <a:round/>
              <a:headEnd/>
              <a:tailEnd/>
            </a:ln>
          </p:spPr>
          <p:txBody>
            <a:bodyPr/>
            <a:lstStyle/>
            <a:p>
              <a:endParaRPr lang="en-US"/>
            </a:p>
          </p:txBody>
        </p:sp>
        <p:sp>
          <p:nvSpPr>
            <p:cNvPr id="34850" name="Freeform 31"/>
            <p:cNvSpPr>
              <a:spLocks/>
            </p:cNvSpPr>
            <p:nvPr/>
          </p:nvSpPr>
          <p:spPr bwMode="auto">
            <a:xfrm>
              <a:off x="4570413" y="4473575"/>
              <a:ext cx="1443038" cy="1293813"/>
            </a:xfrm>
            <a:custGeom>
              <a:avLst/>
              <a:gdLst>
                <a:gd name="T0" fmla="*/ 2147483647 w 1180"/>
                <a:gd name="T1" fmla="*/ 2147483647 h 1080"/>
                <a:gd name="T2" fmla="*/ 2147483647 w 1180"/>
                <a:gd name="T3" fmla="*/ 2147483647 h 1080"/>
                <a:gd name="T4" fmla="*/ 2147483647 w 1180"/>
                <a:gd name="T5" fmla="*/ 2147483647 h 1080"/>
                <a:gd name="T6" fmla="*/ 2147483647 w 1180"/>
                <a:gd name="T7" fmla="*/ 2147483647 h 1080"/>
                <a:gd name="T8" fmla="*/ 2147483647 w 1180"/>
                <a:gd name="T9" fmla="*/ 2147483647 h 1080"/>
                <a:gd name="T10" fmla="*/ 2147483647 w 1180"/>
                <a:gd name="T11" fmla="*/ 2147483647 h 1080"/>
                <a:gd name="T12" fmla="*/ 2147483647 w 1180"/>
                <a:gd name="T13" fmla="*/ 2147483647 h 1080"/>
                <a:gd name="T14" fmla="*/ 2147483647 w 1180"/>
                <a:gd name="T15" fmla="*/ 2147483647 h 1080"/>
                <a:gd name="T16" fmla="*/ 2147483647 w 1180"/>
                <a:gd name="T17" fmla="*/ 2147483647 h 1080"/>
                <a:gd name="T18" fmla="*/ 2147483647 w 1180"/>
                <a:gd name="T19" fmla="*/ 2147483647 h 1080"/>
                <a:gd name="T20" fmla="*/ 2147483647 w 1180"/>
                <a:gd name="T21" fmla="*/ 2147483647 h 1080"/>
                <a:gd name="T22" fmla="*/ 2147483647 w 1180"/>
                <a:gd name="T23" fmla="*/ 2147483647 h 1080"/>
                <a:gd name="T24" fmla="*/ 2147483647 w 1180"/>
                <a:gd name="T25" fmla="*/ 2147483647 h 1080"/>
                <a:gd name="T26" fmla="*/ 2147483647 w 1180"/>
                <a:gd name="T27" fmla="*/ 2147483647 h 1080"/>
                <a:gd name="T28" fmla="*/ 2147483647 w 1180"/>
                <a:gd name="T29" fmla="*/ 0 h 1080"/>
                <a:gd name="T30" fmla="*/ 2147483647 w 1180"/>
                <a:gd name="T31" fmla="*/ 2147483647 h 1080"/>
                <a:gd name="T32" fmla="*/ 2147483647 w 1180"/>
                <a:gd name="T33" fmla="*/ 2147483647 h 1080"/>
                <a:gd name="T34" fmla="*/ 2147483647 w 1180"/>
                <a:gd name="T35" fmla="*/ 2147483647 h 1080"/>
                <a:gd name="T36" fmla="*/ 2147483647 w 1180"/>
                <a:gd name="T37" fmla="*/ 2147483647 h 1080"/>
                <a:gd name="T38" fmla="*/ 2147483647 w 1180"/>
                <a:gd name="T39" fmla="*/ 2147483647 h 1080"/>
                <a:gd name="T40" fmla="*/ 2147483647 w 1180"/>
                <a:gd name="T41" fmla="*/ 2147483647 h 1080"/>
                <a:gd name="T42" fmla="*/ 2147483647 w 1180"/>
                <a:gd name="T43" fmla="*/ 2147483647 h 1080"/>
                <a:gd name="T44" fmla="*/ 2147483647 w 1180"/>
                <a:gd name="T45" fmla="*/ 2147483647 h 1080"/>
                <a:gd name="T46" fmla="*/ 2147483647 w 1180"/>
                <a:gd name="T47" fmla="*/ 2147483647 h 1080"/>
                <a:gd name="T48" fmla="*/ 2147483647 w 1180"/>
                <a:gd name="T49" fmla="*/ 2147483647 h 1080"/>
                <a:gd name="T50" fmla="*/ 2147483647 w 1180"/>
                <a:gd name="T51" fmla="*/ 2147483647 h 1080"/>
                <a:gd name="T52" fmla="*/ 2147483647 w 1180"/>
                <a:gd name="T53" fmla="*/ 2147483647 h 1080"/>
                <a:gd name="T54" fmla="*/ 2147483647 w 1180"/>
                <a:gd name="T55" fmla="*/ 2147483647 h 1080"/>
                <a:gd name="T56" fmla="*/ 2147483647 w 1180"/>
                <a:gd name="T57" fmla="*/ 2147483647 h 1080"/>
                <a:gd name="T58" fmla="*/ 2147483647 w 1180"/>
                <a:gd name="T59" fmla="*/ 2147483647 h 1080"/>
                <a:gd name="T60" fmla="*/ 2147483647 w 1180"/>
                <a:gd name="T61" fmla="*/ 2147483647 h 1080"/>
                <a:gd name="T62" fmla="*/ 2147483647 w 1180"/>
                <a:gd name="T63" fmla="*/ 2147483647 h 1080"/>
                <a:gd name="T64" fmla="*/ 2147483647 w 1180"/>
                <a:gd name="T65" fmla="*/ 2147483647 h 1080"/>
                <a:gd name="T66" fmla="*/ 2147483647 w 1180"/>
                <a:gd name="T67" fmla="*/ 2147483647 h 1080"/>
                <a:gd name="T68" fmla="*/ 2147483647 w 1180"/>
                <a:gd name="T69" fmla="*/ 2147483647 h 1080"/>
                <a:gd name="T70" fmla="*/ 2147483647 w 1180"/>
                <a:gd name="T71" fmla="*/ 2147483647 h 1080"/>
                <a:gd name="T72" fmla="*/ 2147483647 w 1180"/>
                <a:gd name="T73" fmla="*/ 2147483647 h 1080"/>
                <a:gd name="T74" fmla="*/ 2147483647 w 1180"/>
                <a:gd name="T75" fmla="*/ 2147483647 h 1080"/>
                <a:gd name="T76" fmla="*/ 2147483647 w 1180"/>
                <a:gd name="T77" fmla="*/ 2147483647 h 1080"/>
                <a:gd name="T78" fmla="*/ 2147483647 w 1180"/>
                <a:gd name="T79" fmla="*/ 2147483647 h 1080"/>
                <a:gd name="T80" fmla="*/ 2147483647 w 1180"/>
                <a:gd name="T81" fmla="*/ 2147483647 h 1080"/>
                <a:gd name="T82" fmla="*/ 2147483647 w 1180"/>
                <a:gd name="T83" fmla="*/ 2147483647 h 1080"/>
                <a:gd name="T84" fmla="*/ 2147483647 w 1180"/>
                <a:gd name="T85" fmla="*/ 2147483647 h 1080"/>
                <a:gd name="T86" fmla="*/ 2147483647 w 1180"/>
                <a:gd name="T87" fmla="*/ 2147483647 h 1080"/>
                <a:gd name="T88" fmla="*/ 2147483647 w 1180"/>
                <a:gd name="T89" fmla="*/ 2147483647 h 1080"/>
                <a:gd name="T90" fmla="*/ 2147483647 w 1180"/>
                <a:gd name="T91" fmla="*/ 2147483647 h 1080"/>
                <a:gd name="T92" fmla="*/ 2147483647 w 1180"/>
                <a:gd name="T93" fmla="*/ 2147483647 h 1080"/>
                <a:gd name="T94" fmla="*/ 2147483647 w 1180"/>
                <a:gd name="T95" fmla="*/ 2147483647 h 1080"/>
                <a:gd name="T96" fmla="*/ 2147483647 w 1180"/>
                <a:gd name="T97" fmla="*/ 2147483647 h 1080"/>
                <a:gd name="T98" fmla="*/ 2147483647 w 1180"/>
                <a:gd name="T99" fmla="*/ 2147483647 h 1080"/>
                <a:gd name="T100" fmla="*/ 2147483647 w 1180"/>
                <a:gd name="T101" fmla="*/ 2147483647 h 1080"/>
                <a:gd name="T102" fmla="*/ 2147483647 w 1180"/>
                <a:gd name="T103" fmla="*/ 2147483647 h 10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80"/>
                <a:gd name="T157" fmla="*/ 0 h 1080"/>
                <a:gd name="T158" fmla="*/ 1180 w 1180"/>
                <a:gd name="T159" fmla="*/ 1080 h 108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80" h="1080">
                  <a:moveTo>
                    <a:pt x="1155" y="752"/>
                  </a:moveTo>
                  <a:lnTo>
                    <a:pt x="1121" y="728"/>
                  </a:lnTo>
                  <a:lnTo>
                    <a:pt x="1087" y="712"/>
                  </a:lnTo>
                  <a:lnTo>
                    <a:pt x="1003" y="672"/>
                  </a:lnTo>
                  <a:lnTo>
                    <a:pt x="919" y="632"/>
                  </a:lnTo>
                  <a:lnTo>
                    <a:pt x="935" y="616"/>
                  </a:lnTo>
                  <a:lnTo>
                    <a:pt x="927" y="600"/>
                  </a:lnTo>
                  <a:lnTo>
                    <a:pt x="902" y="584"/>
                  </a:lnTo>
                  <a:lnTo>
                    <a:pt x="868" y="592"/>
                  </a:lnTo>
                  <a:lnTo>
                    <a:pt x="817" y="592"/>
                  </a:lnTo>
                  <a:lnTo>
                    <a:pt x="775" y="568"/>
                  </a:lnTo>
                  <a:lnTo>
                    <a:pt x="733" y="528"/>
                  </a:lnTo>
                  <a:lnTo>
                    <a:pt x="708" y="488"/>
                  </a:lnTo>
                  <a:lnTo>
                    <a:pt x="683" y="448"/>
                  </a:lnTo>
                  <a:lnTo>
                    <a:pt x="641" y="408"/>
                  </a:lnTo>
                  <a:lnTo>
                    <a:pt x="556" y="344"/>
                  </a:lnTo>
                  <a:lnTo>
                    <a:pt x="523" y="296"/>
                  </a:lnTo>
                  <a:lnTo>
                    <a:pt x="523" y="280"/>
                  </a:lnTo>
                  <a:lnTo>
                    <a:pt x="539" y="256"/>
                  </a:lnTo>
                  <a:lnTo>
                    <a:pt x="548" y="240"/>
                  </a:lnTo>
                  <a:lnTo>
                    <a:pt x="539" y="224"/>
                  </a:lnTo>
                  <a:lnTo>
                    <a:pt x="531" y="216"/>
                  </a:lnTo>
                  <a:lnTo>
                    <a:pt x="531" y="200"/>
                  </a:lnTo>
                  <a:lnTo>
                    <a:pt x="556" y="184"/>
                  </a:lnTo>
                  <a:lnTo>
                    <a:pt x="641" y="152"/>
                  </a:lnTo>
                  <a:lnTo>
                    <a:pt x="649" y="144"/>
                  </a:lnTo>
                  <a:lnTo>
                    <a:pt x="641" y="88"/>
                  </a:lnTo>
                  <a:lnTo>
                    <a:pt x="649" y="56"/>
                  </a:lnTo>
                  <a:lnTo>
                    <a:pt x="531" y="24"/>
                  </a:lnTo>
                  <a:lnTo>
                    <a:pt x="514" y="0"/>
                  </a:lnTo>
                  <a:lnTo>
                    <a:pt x="438" y="8"/>
                  </a:lnTo>
                  <a:lnTo>
                    <a:pt x="405" y="40"/>
                  </a:lnTo>
                  <a:lnTo>
                    <a:pt x="371" y="32"/>
                  </a:lnTo>
                  <a:lnTo>
                    <a:pt x="354" y="64"/>
                  </a:lnTo>
                  <a:lnTo>
                    <a:pt x="320" y="64"/>
                  </a:lnTo>
                  <a:lnTo>
                    <a:pt x="295" y="80"/>
                  </a:lnTo>
                  <a:lnTo>
                    <a:pt x="253" y="72"/>
                  </a:lnTo>
                  <a:lnTo>
                    <a:pt x="228" y="152"/>
                  </a:lnTo>
                  <a:lnTo>
                    <a:pt x="160" y="72"/>
                  </a:lnTo>
                  <a:lnTo>
                    <a:pt x="118" y="136"/>
                  </a:lnTo>
                  <a:lnTo>
                    <a:pt x="25" y="144"/>
                  </a:lnTo>
                  <a:lnTo>
                    <a:pt x="42" y="208"/>
                  </a:lnTo>
                  <a:lnTo>
                    <a:pt x="0" y="232"/>
                  </a:lnTo>
                  <a:lnTo>
                    <a:pt x="25" y="272"/>
                  </a:lnTo>
                  <a:lnTo>
                    <a:pt x="17" y="320"/>
                  </a:lnTo>
                  <a:lnTo>
                    <a:pt x="93" y="352"/>
                  </a:lnTo>
                  <a:lnTo>
                    <a:pt x="76" y="392"/>
                  </a:lnTo>
                  <a:lnTo>
                    <a:pt x="93" y="392"/>
                  </a:lnTo>
                  <a:lnTo>
                    <a:pt x="135" y="376"/>
                  </a:lnTo>
                  <a:lnTo>
                    <a:pt x="160" y="344"/>
                  </a:lnTo>
                  <a:lnTo>
                    <a:pt x="177" y="328"/>
                  </a:lnTo>
                  <a:lnTo>
                    <a:pt x="202" y="320"/>
                  </a:lnTo>
                  <a:lnTo>
                    <a:pt x="244" y="336"/>
                  </a:lnTo>
                  <a:lnTo>
                    <a:pt x="261" y="352"/>
                  </a:lnTo>
                  <a:lnTo>
                    <a:pt x="278" y="368"/>
                  </a:lnTo>
                  <a:lnTo>
                    <a:pt x="312" y="368"/>
                  </a:lnTo>
                  <a:lnTo>
                    <a:pt x="329" y="384"/>
                  </a:lnTo>
                  <a:lnTo>
                    <a:pt x="337" y="424"/>
                  </a:lnTo>
                  <a:lnTo>
                    <a:pt x="362" y="472"/>
                  </a:lnTo>
                  <a:lnTo>
                    <a:pt x="371" y="496"/>
                  </a:lnTo>
                  <a:lnTo>
                    <a:pt x="396" y="512"/>
                  </a:lnTo>
                  <a:lnTo>
                    <a:pt x="430" y="552"/>
                  </a:lnTo>
                  <a:lnTo>
                    <a:pt x="472" y="576"/>
                  </a:lnTo>
                  <a:lnTo>
                    <a:pt x="497" y="592"/>
                  </a:lnTo>
                  <a:lnTo>
                    <a:pt x="514" y="608"/>
                  </a:lnTo>
                  <a:lnTo>
                    <a:pt x="607" y="680"/>
                  </a:lnTo>
                  <a:lnTo>
                    <a:pt x="624" y="696"/>
                  </a:lnTo>
                  <a:lnTo>
                    <a:pt x="649" y="688"/>
                  </a:lnTo>
                  <a:lnTo>
                    <a:pt x="708" y="712"/>
                  </a:lnTo>
                  <a:lnTo>
                    <a:pt x="742" y="744"/>
                  </a:lnTo>
                  <a:lnTo>
                    <a:pt x="767" y="744"/>
                  </a:lnTo>
                  <a:lnTo>
                    <a:pt x="775" y="752"/>
                  </a:lnTo>
                  <a:lnTo>
                    <a:pt x="775" y="768"/>
                  </a:lnTo>
                  <a:lnTo>
                    <a:pt x="809" y="768"/>
                  </a:lnTo>
                  <a:lnTo>
                    <a:pt x="826" y="800"/>
                  </a:lnTo>
                  <a:lnTo>
                    <a:pt x="851" y="824"/>
                  </a:lnTo>
                  <a:lnTo>
                    <a:pt x="893" y="840"/>
                  </a:lnTo>
                  <a:lnTo>
                    <a:pt x="927" y="856"/>
                  </a:lnTo>
                  <a:lnTo>
                    <a:pt x="944" y="904"/>
                  </a:lnTo>
                  <a:lnTo>
                    <a:pt x="978" y="984"/>
                  </a:lnTo>
                  <a:lnTo>
                    <a:pt x="952" y="984"/>
                  </a:lnTo>
                  <a:lnTo>
                    <a:pt x="935" y="1000"/>
                  </a:lnTo>
                  <a:lnTo>
                    <a:pt x="935" y="1016"/>
                  </a:lnTo>
                  <a:lnTo>
                    <a:pt x="927" y="1040"/>
                  </a:lnTo>
                  <a:lnTo>
                    <a:pt x="919" y="1056"/>
                  </a:lnTo>
                  <a:lnTo>
                    <a:pt x="935" y="1072"/>
                  </a:lnTo>
                  <a:lnTo>
                    <a:pt x="952" y="1080"/>
                  </a:lnTo>
                  <a:lnTo>
                    <a:pt x="978" y="1072"/>
                  </a:lnTo>
                  <a:lnTo>
                    <a:pt x="994" y="1040"/>
                  </a:lnTo>
                  <a:lnTo>
                    <a:pt x="1011" y="1000"/>
                  </a:lnTo>
                  <a:lnTo>
                    <a:pt x="1028" y="960"/>
                  </a:lnTo>
                  <a:lnTo>
                    <a:pt x="1070" y="952"/>
                  </a:lnTo>
                  <a:lnTo>
                    <a:pt x="1070" y="904"/>
                  </a:lnTo>
                  <a:lnTo>
                    <a:pt x="1053" y="888"/>
                  </a:lnTo>
                  <a:lnTo>
                    <a:pt x="1028" y="880"/>
                  </a:lnTo>
                  <a:lnTo>
                    <a:pt x="1003" y="864"/>
                  </a:lnTo>
                  <a:lnTo>
                    <a:pt x="994" y="848"/>
                  </a:lnTo>
                  <a:lnTo>
                    <a:pt x="1011" y="800"/>
                  </a:lnTo>
                  <a:lnTo>
                    <a:pt x="1028" y="776"/>
                  </a:lnTo>
                  <a:lnTo>
                    <a:pt x="1045" y="768"/>
                  </a:lnTo>
                  <a:lnTo>
                    <a:pt x="1104" y="776"/>
                  </a:lnTo>
                  <a:lnTo>
                    <a:pt x="1146" y="792"/>
                  </a:lnTo>
                  <a:lnTo>
                    <a:pt x="1180" y="824"/>
                  </a:lnTo>
                  <a:lnTo>
                    <a:pt x="1180" y="784"/>
                  </a:lnTo>
                  <a:lnTo>
                    <a:pt x="1155" y="75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51" name="Freeform 32"/>
            <p:cNvSpPr>
              <a:spLocks/>
            </p:cNvSpPr>
            <p:nvPr/>
          </p:nvSpPr>
          <p:spPr bwMode="auto">
            <a:xfrm>
              <a:off x="3354388" y="3860800"/>
              <a:ext cx="1401763" cy="1303338"/>
            </a:xfrm>
            <a:custGeom>
              <a:avLst/>
              <a:gdLst>
                <a:gd name="T0" fmla="*/ 2147483647 w 1146"/>
                <a:gd name="T1" fmla="*/ 2147483647 h 1088"/>
                <a:gd name="T2" fmla="*/ 2147483647 w 1146"/>
                <a:gd name="T3" fmla="*/ 2147483647 h 1088"/>
                <a:gd name="T4" fmla="*/ 2147483647 w 1146"/>
                <a:gd name="T5" fmla="*/ 2147483647 h 1088"/>
                <a:gd name="T6" fmla="*/ 2147483647 w 1146"/>
                <a:gd name="T7" fmla="*/ 2147483647 h 1088"/>
                <a:gd name="T8" fmla="*/ 2147483647 w 1146"/>
                <a:gd name="T9" fmla="*/ 2147483647 h 1088"/>
                <a:gd name="T10" fmla="*/ 2147483647 w 1146"/>
                <a:gd name="T11" fmla="*/ 2147483647 h 1088"/>
                <a:gd name="T12" fmla="*/ 2147483647 w 1146"/>
                <a:gd name="T13" fmla="*/ 2147483647 h 1088"/>
                <a:gd name="T14" fmla="*/ 2147483647 w 1146"/>
                <a:gd name="T15" fmla="*/ 2147483647 h 1088"/>
                <a:gd name="T16" fmla="*/ 2147483647 w 1146"/>
                <a:gd name="T17" fmla="*/ 2147483647 h 1088"/>
                <a:gd name="T18" fmla="*/ 2147483647 w 1146"/>
                <a:gd name="T19" fmla="*/ 2147483647 h 1088"/>
                <a:gd name="T20" fmla="*/ 2147483647 w 1146"/>
                <a:gd name="T21" fmla="*/ 2147483647 h 1088"/>
                <a:gd name="T22" fmla="*/ 2147483647 w 1146"/>
                <a:gd name="T23" fmla="*/ 2147483647 h 1088"/>
                <a:gd name="T24" fmla="*/ 2147483647 w 1146"/>
                <a:gd name="T25" fmla="*/ 2147483647 h 1088"/>
                <a:gd name="T26" fmla="*/ 2147483647 w 1146"/>
                <a:gd name="T27" fmla="*/ 0 h 1088"/>
                <a:gd name="T28" fmla="*/ 2147483647 w 1146"/>
                <a:gd name="T29" fmla="*/ 2147483647 h 1088"/>
                <a:gd name="T30" fmla="*/ 2147483647 w 1146"/>
                <a:gd name="T31" fmla="*/ 2147483647 h 1088"/>
                <a:gd name="T32" fmla="*/ 2147483647 w 1146"/>
                <a:gd name="T33" fmla="*/ 2147483647 h 1088"/>
                <a:gd name="T34" fmla="*/ 2147483647 w 1146"/>
                <a:gd name="T35" fmla="*/ 2147483647 h 1088"/>
                <a:gd name="T36" fmla="*/ 2147483647 w 1146"/>
                <a:gd name="T37" fmla="*/ 2147483647 h 1088"/>
                <a:gd name="T38" fmla="*/ 2147483647 w 1146"/>
                <a:gd name="T39" fmla="*/ 2147483647 h 1088"/>
                <a:gd name="T40" fmla="*/ 2147483647 w 1146"/>
                <a:gd name="T41" fmla="*/ 2147483647 h 1088"/>
                <a:gd name="T42" fmla="*/ 2147483647 w 1146"/>
                <a:gd name="T43" fmla="*/ 2147483647 h 1088"/>
                <a:gd name="T44" fmla="*/ 2147483647 w 1146"/>
                <a:gd name="T45" fmla="*/ 2147483647 h 1088"/>
                <a:gd name="T46" fmla="*/ 2147483647 w 1146"/>
                <a:gd name="T47" fmla="*/ 2147483647 h 1088"/>
                <a:gd name="T48" fmla="*/ 2147483647 w 1146"/>
                <a:gd name="T49" fmla="*/ 2147483647 h 1088"/>
                <a:gd name="T50" fmla="*/ 2147483647 w 1146"/>
                <a:gd name="T51" fmla="*/ 2147483647 h 1088"/>
                <a:gd name="T52" fmla="*/ 2147483647 w 1146"/>
                <a:gd name="T53" fmla="*/ 2147483647 h 1088"/>
                <a:gd name="T54" fmla="*/ 2147483647 w 1146"/>
                <a:gd name="T55" fmla="*/ 2147483647 h 1088"/>
                <a:gd name="T56" fmla="*/ 2147483647 w 1146"/>
                <a:gd name="T57" fmla="*/ 2147483647 h 1088"/>
                <a:gd name="T58" fmla="*/ 2147483647 w 1146"/>
                <a:gd name="T59" fmla="*/ 2147483647 h 1088"/>
                <a:gd name="T60" fmla="*/ 2147483647 w 1146"/>
                <a:gd name="T61" fmla="*/ 2147483647 h 1088"/>
                <a:gd name="T62" fmla="*/ 2147483647 w 1146"/>
                <a:gd name="T63" fmla="*/ 2147483647 h 1088"/>
                <a:gd name="T64" fmla="*/ 2147483647 w 1146"/>
                <a:gd name="T65" fmla="*/ 2147483647 h 1088"/>
                <a:gd name="T66" fmla="*/ 2147483647 w 1146"/>
                <a:gd name="T67" fmla="*/ 2147483647 h 1088"/>
                <a:gd name="T68" fmla="*/ 2147483647 w 1146"/>
                <a:gd name="T69" fmla="*/ 2147483647 h 1088"/>
                <a:gd name="T70" fmla="*/ 2147483647 w 1146"/>
                <a:gd name="T71" fmla="*/ 2147483647 h 1088"/>
                <a:gd name="T72" fmla="*/ 2147483647 w 1146"/>
                <a:gd name="T73" fmla="*/ 2147483647 h 1088"/>
                <a:gd name="T74" fmla="*/ 2147483647 w 1146"/>
                <a:gd name="T75" fmla="*/ 2147483647 h 1088"/>
                <a:gd name="T76" fmla="*/ 2147483647 w 1146"/>
                <a:gd name="T77" fmla="*/ 2147483647 h 1088"/>
                <a:gd name="T78" fmla="*/ 2147483647 w 1146"/>
                <a:gd name="T79" fmla="*/ 2147483647 h 1088"/>
                <a:gd name="T80" fmla="*/ 2147483647 w 1146"/>
                <a:gd name="T81" fmla="*/ 2147483647 h 1088"/>
                <a:gd name="T82" fmla="*/ 2147483647 w 1146"/>
                <a:gd name="T83" fmla="*/ 2147483647 h 1088"/>
                <a:gd name="T84" fmla="*/ 2147483647 w 1146"/>
                <a:gd name="T85" fmla="*/ 2147483647 h 1088"/>
                <a:gd name="T86" fmla="*/ 2147483647 w 1146"/>
                <a:gd name="T87" fmla="*/ 2147483647 h 1088"/>
                <a:gd name="T88" fmla="*/ 2147483647 w 1146"/>
                <a:gd name="T89" fmla="*/ 2147483647 h 1088"/>
                <a:gd name="T90" fmla="*/ 2147483647 w 1146"/>
                <a:gd name="T91" fmla="*/ 2147483647 h 1088"/>
                <a:gd name="T92" fmla="*/ 2147483647 w 1146"/>
                <a:gd name="T93" fmla="*/ 2147483647 h 1088"/>
                <a:gd name="T94" fmla="*/ 2147483647 w 1146"/>
                <a:gd name="T95" fmla="*/ 2147483647 h 1088"/>
                <a:gd name="T96" fmla="*/ 2147483647 w 1146"/>
                <a:gd name="T97" fmla="*/ 2147483647 h 1088"/>
                <a:gd name="T98" fmla="*/ 2147483647 w 1146"/>
                <a:gd name="T99" fmla="*/ 2147483647 h 1088"/>
                <a:gd name="T100" fmla="*/ 2147483647 w 1146"/>
                <a:gd name="T101" fmla="*/ 2147483647 h 1088"/>
                <a:gd name="T102" fmla="*/ 2147483647 w 1146"/>
                <a:gd name="T103" fmla="*/ 2147483647 h 1088"/>
                <a:gd name="T104" fmla="*/ 2147483647 w 1146"/>
                <a:gd name="T105" fmla="*/ 2147483647 h 1088"/>
                <a:gd name="T106" fmla="*/ 2147483647 w 1146"/>
                <a:gd name="T107" fmla="*/ 2147483647 h 1088"/>
                <a:gd name="T108" fmla="*/ 2147483647 w 1146"/>
                <a:gd name="T109" fmla="*/ 2147483647 h 1088"/>
                <a:gd name="T110" fmla="*/ 2147483647 w 1146"/>
                <a:gd name="T111" fmla="*/ 2147483647 h 1088"/>
                <a:gd name="T112" fmla="*/ 2147483647 w 1146"/>
                <a:gd name="T113" fmla="*/ 2147483647 h 1088"/>
                <a:gd name="T114" fmla="*/ 2147483647 w 1146"/>
                <a:gd name="T115" fmla="*/ 2147483647 h 1088"/>
                <a:gd name="T116" fmla="*/ 2147483647 w 1146"/>
                <a:gd name="T117" fmla="*/ 2147483647 h 10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46"/>
                <a:gd name="T178" fmla="*/ 0 h 1088"/>
                <a:gd name="T179" fmla="*/ 1146 w 1146"/>
                <a:gd name="T180" fmla="*/ 1088 h 10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46" h="1088">
                  <a:moveTo>
                    <a:pt x="1011" y="616"/>
                  </a:moveTo>
                  <a:lnTo>
                    <a:pt x="969" y="600"/>
                  </a:lnTo>
                  <a:lnTo>
                    <a:pt x="935" y="616"/>
                  </a:lnTo>
                  <a:lnTo>
                    <a:pt x="944" y="584"/>
                  </a:lnTo>
                  <a:lnTo>
                    <a:pt x="977" y="544"/>
                  </a:lnTo>
                  <a:lnTo>
                    <a:pt x="986" y="520"/>
                  </a:lnTo>
                  <a:lnTo>
                    <a:pt x="1011" y="504"/>
                  </a:lnTo>
                  <a:lnTo>
                    <a:pt x="1019" y="472"/>
                  </a:lnTo>
                  <a:lnTo>
                    <a:pt x="1053" y="464"/>
                  </a:lnTo>
                  <a:lnTo>
                    <a:pt x="1087" y="448"/>
                  </a:lnTo>
                  <a:lnTo>
                    <a:pt x="1104" y="360"/>
                  </a:lnTo>
                  <a:lnTo>
                    <a:pt x="1112" y="320"/>
                  </a:lnTo>
                  <a:lnTo>
                    <a:pt x="1146" y="288"/>
                  </a:lnTo>
                  <a:lnTo>
                    <a:pt x="1095" y="272"/>
                  </a:lnTo>
                  <a:lnTo>
                    <a:pt x="1036" y="256"/>
                  </a:lnTo>
                  <a:lnTo>
                    <a:pt x="1011" y="248"/>
                  </a:lnTo>
                  <a:lnTo>
                    <a:pt x="986" y="216"/>
                  </a:lnTo>
                  <a:lnTo>
                    <a:pt x="927" y="208"/>
                  </a:lnTo>
                  <a:lnTo>
                    <a:pt x="868" y="168"/>
                  </a:lnTo>
                  <a:lnTo>
                    <a:pt x="851" y="136"/>
                  </a:lnTo>
                  <a:lnTo>
                    <a:pt x="809" y="144"/>
                  </a:lnTo>
                  <a:lnTo>
                    <a:pt x="809" y="112"/>
                  </a:lnTo>
                  <a:lnTo>
                    <a:pt x="767" y="96"/>
                  </a:lnTo>
                  <a:lnTo>
                    <a:pt x="767" y="88"/>
                  </a:lnTo>
                  <a:lnTo>
                    <a:pt x="733" y="72"/>
                  </a:lnTo>
                  <a:lnTo>
                    <a:pt x="708" y="48"/>
                  </a:lnTo>
                  <a:lnTo>
                    <a:pt x="682" y="16"/>
                  </a:lnTo>
                  <a:lnTo>
                    <a:pt x="666" y="0"/>
                  </a:lnTo>
                  <a:lnTo>
                    <a:pt x="623" y="8"/>
                  </a:lnTo>
                  <a:lnTo>
                    <a:pt x="598" y="24"/>
                  </a:lnTo>
                  <a:lnTo>
                    <a:pt x="581" y="88"/>
                  </a:lnTo>
                  <a:lnTo>
                    <a:pt x="564" y="104"/>
                  </a:lnTo>
                  <a:lnTo>
                    <a:pt x="539" y="120"/>
                  </a:lnTo>
                  <a:lnTo>
                    <a:pt x="489" y="136"/>
                  </a:lnTo>
                  <a:lnTo>
                    <a:pt x="463" y="144"/>
                  </a:lnTo>
                  <a:lnTo>
                    <a:pt x="455" y="168"/>
                  </a:lnTo>
                  <a:lnTo>
                    <a:pt x="446" y="184"/>
                  </a:lnTo>
                  <a:lnTo>
                    <a:pt x="413" y="184"/>
                  </a:lnTo>
                  <a:lnTo>
                    <a:pt x="362" y="168"/>
                  </a:lnTo>
                  <a:lnTo>
                    <a:pt x="345" y="160"/>
                  </a:lnTo>
                  <a:lnTo>
                    <a:pt x="328" y="144"/>
                  </a:lnTo>
                  <a:lnTo>
                    <a:pt x="269" y="144"/>
                  </a:lnTo>
                  <a:lnTo>
                    <a:pt x="295" y="200"/>
                  </a:lnTo>
                  <a:lnTo>
                    <a:pt x="303" y="256"/>
                  </a:lnTo>
                  <a:lnTo>
                    <a:pt x="253" y="248"/>
                  </a:lnTo>
                  <a:lnTo>
                    <a:pt x="211" y="240"/>
                  </a:lnTo>
                  <a:lnTo>
                    <a:pt x="194" y="248"/>
                  </a:lnTo>
                  <a:lnTo>
                    <a:pt x="177" y="232"/>
                  </a:lnTo>
                  <a:lnTo>
                    <a:pt x="152" y="208"/>
                  </a:lnTo>
                  <a:lnTo>
                    <a:pt x="126" y="208"/>
                  </a:lnTo>
                  <a:lnTo>
                    <a:pt x="109" y="216"/>
                  </a:lnTo>
                  <a:lnTo>
                    <a:pt x="84" y="216"/>
                  </a:lnTo>
                  <a:lnTo>
                    <a:pt x="34" y="216"/>
                  </a:lnTo>
                  <a:lnTo>
                    <a:pt x="8" y="232"/>
                  </a:lnTo>
                  <a:lnTo>
                    <a:pt x="0" y="240"/>
                  </a:lnTo>
                  <a:lnTo>
                    <a:pt x="8" y="248"/>
                  </a:lnTo>
                  <a:lnTo>
                    <a:pt x="50" y="272"/>
                  </a:lnTo>
                  <a:lnTo>
                    <a:pt x="25" y="272"/>
                  </a:lnTo>
                  <a:lnTo>
                    <a:pt x="17" y="280"/>
                  </a:lnTo>
                  <a:lnTo>
                    <a:pt x="17" y="288"/>
                  </a:lnTo>
                  <a:lnTo>
                    <a:pt x="25" y="304"/>
                  </a:lnTo>
                  <a:lnTo>
                    <a:pt x="42" y="312"/>
                  </a:lnTo>
                  <a:lnTo>
                    <a:pt x="76" y="320"/>
                  </a:lnTo>
                  <a:lnTo>
                    <a:pt x="109" y="328"/>
                  </a:lnTo>
                  <a:lnTo>
                    <a:pt x="135" y="352"/>
                  </a:lnTo>
                  <a:lnTo>
                    <a:pt x="160" y="368"/>
                  </a:lnTo>
                  <a:lnTo>
                    <a:pt x="185" y="376"/>
                  </a:lnTo>
                  <a:lnTo>
                    <a:pt x="194" y="400"/>
                  </a:lnTo>
                  <a:lnTo>
                    <a:pt x="219" y="424"/>
                  </a:lnTo>
                  <a:lnTo>
                    <a:pt x="211" y="448"/>
                  </a:lnTo>
                  <a:lnTo>
                    <a:pt x="244" y="512"/>
                  </a:lnTo>
                  <a:lnTo>
                    <a:pt x="269" y="536"/>
                  </a:lnTo>
                  <a:lnTo>
                    <a:pt x="286" y="560"/>
                  </a:lnTo>
                  <a:lnTo>
                    <a:pt x="278" y="584"/>
                  </a:lnTo>
                  <a:lnTo>
                    <a:pt x="253" y="592"/>
                  </a:lnTo>
                  <a:lnTo>
                    <a:pt x="295" y="640"/>
                  </a:lnTo>
                  <a:lnTo>
                    <a:pt x="269" y="632"/>
                  </a:lnTo>
                  <a:lnTo>
                    <a:pt x="236" y="776"/>
                  </a:lnTo>
                  <a:lnTo>
                    <a:pt x="202" y="848"/>
                  </a:lnTo>
                  <a:lnTo>
                    <a:pt x="177" y="872"/>
                  </a:lnTo>
                  <a:lnTo>
                    <a:pt x="143" y="880"/>
                  </a:lnTo>
                  <a:lnTo>
                    <a:pt x="160" y="888"/>
                  </a:lnTo>
                  <a:lnTo>
                    <a:pt x="211" y="928"/>
                  </a:lnTo>
                  <a:lnTo>
                    <a:pt x="244" y="960"/>
                  </a:lnTo>
                  <a:lnTo>
                    <a:pt x="278" y="968"/>
                  </a:lnTo>
                  <a:lnTo>
                    <a:pt x="320" y="992"/>
                  </a:lnTo>
                  <a:lnTo>
                    <a:pt x="337" y="1016"/>
                  </a:lnTo>
                  <a:lnTo>
                    <a:pt x="396" y="1024"/>
                  </a:lnTo>
                  <a:lnTo>
                    <a:pt x="463" y="1032"/>
                  </a:lnTo>
                  <a:lnTo>
                    <a:pt x="522" y="1056"/>
                  </a:lnTo>
                  <a:lnTo>
                    <a:pt x="581" y="1072"/>
                  </a:lnTo>
                  <a:lnTo>
                    <a:pt x="607" y="1088"/>
                  </a:lnTo>
                  <a:lnTo>
                    <a:pt x="632" y="1080"/>
                  </a:lnTo>
                  <a:lnTo>
                    <a:pt x="640" y="1064"/>
                  </a:lnTo>
                  <a:lnTo>
                    <a:pt x="623" y="1032"/>
                  </a:lnTo>
                  <a:lnTo>
                    <a:pt x="632" y="992"/>
                  </a:lnTo>
                  <a:lnTo>
                    <a:pt x="649" y="968"/>
                  </a:lnTo>
                  <a:lnTo>
                    <a:pt x="682" y="944"/>
                  </a:lnTo>
                  <a:lnTo>
                    <a:pt x="716" y="928"/>
                  </a:lnTo>
                  <a:lnTo>
                    <a:pt x="750" y="928"/>
                  </a:lnTo>
                  <a:lnTo>
                    <a:pt x="842" y="952"/>
                  </a:lnTo>
                  <a:lnTo>
                    <a:pt x="876" y="968"/>
                  </a:lnTo>
                  <a:lnTo>
                    <a:pt x="910" y="984"/>
                  </a:lnTo>
                  <a:lnTo>
                    <a:pt x="944" y="984"/>
                  </a:lnTo>
                  <a:lnTo>
                    <a:pt x="960" y="976"/>
                  </a:lnTo>
                  <a:lnTo>
                    <a:pt x="969" y="968"/>
                  </a:lnTo>
                  <a:lnTo>
                    <a:pt x="977" y="960"/>
                  </a:lnTo>
                  <a:lnTo>
                    <a:pt x="1019" y="928"/>
                  </a:lnTo>
                  <a:lnTo>
                    <a:pt x="1070" y="904"/>
                  </a:lnTo>
                  <a:lnTo>
                    <a:pt x="1087" y="864"/>
                  </a:lnTo>
                  <a:lnTo>
                    <a:pt x="1011" y="832"/>
                  </a:lnTo>
                  <a:lnTo>
                    <a:pt x="1019" y="784"/>
                  </a:lnTo>
                  <a:lnTo>
                    <a:pt x="994" y="744"/>
                  </a:lnTo>
                  <a:lnTo>
                    <a:pt x="1036" y="720"/>
                  </a:lnTo>
                  <a:lnTo>
                    <a:pt x="1019" y="656"/>
                  </a:lnTo>
                  <a:lnTo>
                    <a:pt x="1036" y="656"/>
                  </a:lnTo>
                  <a:lnTo>
                    <a:pt x="1019" y="632"/>
                  </a:lnTo>
                  <a:lnTo>
                    <a:pt x="1011" y="616"/>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52" name="Freeform 33"/>
            <p:cNvSpPr>
              <a:spLocks/>
            </p:cNvSpPr>
            <p:nvPr/>
          </p:nvSpPr>
          <p:spPr bwMode="auto">
            <a:xfrm>
              <a:off x="4570413" y="4473575"/>
              <a:ext cx="1443038" cy="1293813"/>
            </a:xfrm>
            <a:custGeom>
              <a:avLst/>
              <a:gdLst>
                <a:gd name="T0" fmla="*/ 2147483647 w 1180"/>
                <a:gd name="T1" fmla="*/ 2147483647 h 1080"/>
                <a:gd name="T2" fmla="*/ 2147483647 w 1180"/>
                <a:gd name="T3" fmla="*/ 2147483647 h 1080"/>
                <a:gd name="T4" fmla="*/ 2147483647 w 1180"/>
                <a:gd name="T5" fmla="*/ 2147483647 h 1080"/>
                <a:gd name="T6" fmla="*/ 2147483647 w 1180"/>
                <a:gd name="T7" fmla="*/ 2147483647 h 1080"/>
                <a:gd name="T8" fmla="*/ 2147483647 w 1180"/>
                <a:gd name="T9" fmla="*/ 2147483647 h 1080"/>
                <a:gd name="T10" fmla="*/ 2147483647 w 1180"/>
                <a:gd name="T11" fmla="*/ 2147483647 h 1080"/>
                <a:gd name="T12" fmla="*/ 2147483647 w 1180"/>
                <a:gd name="T13" fmla="*/ 2147483647 h 1080"/>
                <a:gd name="T14" fmla="*/ 2147483647 w 1180"/>
                <a:gd name="T15" fmla="*/ 2147483647 h 1080"/>
                <a:gd name="T16" fmla="*/ 2147483647 w 1180"/>
                <a:gd name="T17" fmla="*/ 2147483647 h 1080"/>
                <a:gd name="T18" fmla="*/ 2147483647 w 1180"/>
                <a:gd name="T19" fmla="*/ 2147483647 h 1080"/>
                <a:gd name="T20" fmla="*/ 2147483647 w 1180"/>
                <a:gd name="T21" fmla="*/ 2147483647 h 1080"/>
                <a:gd name="T22" fmla="*/ 2147483647 w 1180"/>
                <a:gd name="T23" fmla="*/ 2147483647 h 1080"/>
                <a:gd name="T24" fmla="*/ 2147483647 w 1180"/>
                <a:gd name="T25" fmla="*/ 2147483647 h 1080"/>
                <a:gd name="T26" fmla="*/ 2147483647 w 1180"/>
                <a:gd name="T27" fmla="*/ 2147483647 h 1080"/>
                <a:gd name="T28" fmla="*/ 2147483647 w 1180"/>
                <a:gd name="T29" fmla="*/ 0 h 1080"/>
                <a:gd name="T30" fmla="*/ 2147483647 w 1180"/>
                <a:gd name="T31" fmla="*/ 2147483647 h 1080"/>
                <a:gd name="T32" fmla="*/ 2147483647 w 1180"/>
                <a:gd name="T33" fmla="*/ 2147483647 h 1080"/>
                <a:gd name="T34" fmla="*/ 2147483647 w 1180"/>
                <a:gd name="T35" fmla="*/ 2147483647 h 1080"/>
                <a:gd name="T36" fmla="*/ 2147483647 w 1180"/>
                <a:gd name="T37" fmla="*/ 2147483647 h 1080"/>
                <a:gd name="T38" fmla="*/ 2147483647 w 1180"/>
                <a:gd name="T39" fmla="*/ 2147483647 h 1080"/>
                <a:gd name="T40" fmla="*/ 2147483647 w 1180"/>
                <a:gd name="T41" fmla="*/ 2147483647 h 1080"/>
                <a:gd name="T42" fmla="*/ 2147483647 w 1180"/>
                <a:gd name="T43" fmla="*/ 2147483647 h 1080"/>
                <a:gd name="T44" fmla="*/ 2147483647 w 1180"/>
                <a:gd name="T45" fmla="*/ 2147483647 h 1080"/>
                <a:gd name="T46" fmla="*/ 2147483647 w 1180"/>
                <a:gd name="T47" fmla="*/ 2147483647 h 1080"/>
                <a:gd name="T48" fmla="*/ 2147483647 w 1180"/>
                <a:gd name="T49" fmla="*/ 2147483647 h 1080"/>
                <a:gd name="T50" fmla="*/ 2147483647 w 1180"/>
                <a:gd name="T51" fmla="*/ 2147483647 h 1080"/>
                <a:gd name="T52" fmla="*/ 2147483647 w 1180"/>
                <a:gd name="T53" fmla="*/ 2147483647 h 1080"/>
                <a:gd name="T54" fmla="*/ 2147483647 w 1180"/>
                <a:gd name="T55" fmla="*/ 2147483647 h 1080"/>
                <a:gd name="T56" fmla="*/ 2147483647 w 1180"/>
                <a:gd name="T57" fmla="*/ 2147483647 h 1080"/>
                <a:gd name="T58" fmla="*/ 2147483647 w 1180"/>
                <a:gd name="T59" fmla="*/ 2147483647 h 1080"/>
                <a:gd name="T60" fmla="*/ 2147483647 w 1180"/>
                <a:gd name="T61" fmla="*/ 2147483647 h 1080"/>
                <a:gd name="T62" fmla="*/ 2147483647 w 1180"/>
                <a:gd name="T63" fmla="*/ 2147483647 h 1080"/>
                <a:gd name="T64" fmla="*/ 2147483647 w 1180"/>
                <a:gd name="T65" fmla="*/ 2147483647 h 1080"/>
                <a:gd name="T66" fmla="*/ 2147483647 w 1180"/>
                <a:gd name="T67" fmla="*/ 2147483647 h 1080"/>
                <a:gd name="T68" fmla="*/ 2147483647 w 1180"/>
                <a:gd name="T69" fmla="*/ 2147483647 h 1080"/>
                <a:gd name="T70" fmla="*/ 2147483647 w 1180"/>
                <a:gd name="T71" fmla="*/ 2147483647 h 1080"/>
                <a:gd name="T72" fmla="*/ 2147483647 w 1180"/>
                <a:gd name="T73" fmla="*/ 2147483647 h 1080"/>
                <a:gd name="T74" fmla="*/ 2147483647 w 1180"/>
                <a:gd name="T75" fmla="*/ 2147483647 h 1080"/>
                <a:gd name="T76" fmla="*/ 2147483647 w 1180"/>
                <a:gd name="T77" fmla="*/ 2147483647 h 1080"/>
                <a:gd name="T78" fmla="*/ 2147483647 w 1180"/>
                <a:gd name="T79" fmla="*/ 2147483647 h 1080"/>
                <a:gd name="T80" fmla="*/ 2147483647 w 1180"/>
                <a:gd name="T81" fmla="*/ 2147483647 h 1080"/>
                <a:gd name="T82" fmla="*/ 2147483647 w 1180"/>
                <a:gd name="T83" fmla="*/ 2147483647 h 1080"/>
                <a:gd name="T84" fmla="*/ 2147483647 w 1180"/>
                <a:gd name="T85" fmla="*/ 2147483647 h 1080"/>
                <a:gd name="T86" fmla="*/ 2147483647 w 1180"/>
                <a:gd name="T87" fmla="*/ 2147483647 h 1080"/>
                <a:gd name="T88" fmla="*/ 2147483647 w 1180"/>
                <a:gd name="T89" fmla="*/ 2147483647 h 1080"/>
                <a:gd name="T90" fmla="*/ 2147483647 w 1180"/>
                <a:gd name="T91" fmla="*/ 2147483647 h 1080"/>
                <a:gd name="T92" fmla="*/ 2147483647 w 1180"/>
                <a:gd name="T93" fmla="*/ 2147483647 h 1080"/>
                <a:gd name="T94" fmla="*/ 2147483647 w 1180"/>
                <a:gd name="T95" fmla="*/ 2147483647 h 1080"/>
                <a:gd name="T96" fmla="*/ 2147483647 w 1180"/>
                <a:gd name="T97" fmla="*/ 2147483647 h 1080"/>
                <a:gd name="T98" fmla="*/ 2147483647 w 1180"/>
                <a:gd name="T99" fmla="*/ 2147483647 h 1080"/>
                <a:gd name="T100" fmla="*/ 2147483647 w 1180"/>
                <a:gd name="T101" fmla="*/ 2147483647 h 1080"/>
                <a:gd name="T102" fmla="*/ 2147483647 w 1180"/>
                <a:gd name="T103" fmla="*/ 2147483647 h 1080"/>
                <a:gd name="T104" fmla="*/ 2147483647 w 1180"/>
                <a:gd name="T105" fmla="*/ 2147483647 h 10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80"/>
                <a:gd name="T160" fmla="*/ 0 h 1080"/>
                <a:gd name="T161" fmla="*/ 1180 w 1180"/>
                <a:gd name="T162" fmla="*/ 1080 h 108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80" h="1080">
                  <a:moveTo>
                    <a:pt x="1155" y="752"/>
                  </a:moveTo>
                  <a:lnTo>
                    <a:pt x="1121" y="728"/>
                  </a:lnTo>
                  <a:lnTo>
                    <a:pt x="1087" y="712"/>
                  </a:lnTo>
                  <a:lnTo>
                    <a:pt x="1003" y="672"/>
                  </a:lnTo>
                  <a:lnTo>
                    <a:pt x="919" y="632"/>
                  </a:lnTo>
                  <a:lnTo>
                    <a:pt x="935" y="616"/>
                  </a:lnTo>
                  <a:lnTo>
                    <a:pt x="927" y="600"/>
                  </a:lnTo>
                  <a:lnTo>
                    <a:pt x="902" y="584"/>
                  </a:lnTo>
                  <a:lnTo>
                    <a:pt x="868" y="592"/>
                  </a:lnTo>
                  <a:lnTo>
                    <a:pt x="817" y="592"/>
                  </a:lnTo>
                  <a:lnTo>
                    <a:pt x="775" y="568"/>
                  </a:lnTo>
                  <a:lnTo>
                    <a:pt x="733" y="528"/>
                  </a:lnTo>
                  <a:lnTo>
                    <a:pt x="708" y="488"/>
                  </a:lnTo>
                  <a:lnTo>
                    <a:pt x="683" y="448"/>
                  </a:lnTo>
                  <a:lnTo>
                    <a:pt x="641" y="408"/>
                  </a:lnTo>
                  <a:lnTo>
                    <a:pt x="556" y="344"/>
                  </a:lnTo>
                  <a:lnTo>
                    <a:pt x="523" y="296"/>
                  </a:lnTo>
                  <a:lnTo>
                    <a:pt x="523" y="280"/>
                  </a:lnTo>
                  <a:lnTo>
                    <a:pt x="539" y="256"/>
                  </a:lnTo>
                  <a:lnTo>
                    <a:pt x="548" y="240"/>
                  </a:lnTo>
                  <a:lnTo>
                    <a:pt x="539" y="224"/>
                  </a:lnTo>
                  <a:lnTo>
                    <a:pt x="531" y="216"/>
                  </a:lnTo>
                  <a:lnTo>
                    <a:pt x="531" y="200"/>
                  </a:lnTo>
                  <a:lnTo>
                    <a:pt x="556" y="184"/>
                  </a:lnTo>
                  <a:lnTo>
                    <a:pt x="641" y="152"/>
                  </a:lnTo>
                  <a:lnTo>
                    <a:pt x="649" y="144"/>
                  </a:lnTo>
                  <a:lnTo>
                    <a:pt x="641" y="88"/>
                  </a:lnTo>
                  <a:lnTo>
                    <a:pt x="649" y="56"/>
                  </a:lnTo>
                  <a:lnTo>
                    <a:pt x="531" y="24"/>
                  </a:lnTo>
                  <a:lnTo>
                    <a:pt x="514" y="0"/>
                  </a:lnTo>
                  <a:lnTo>
                    <a:pt x="438" y="8"/>
                  </a:lnTo>
                  <a:lnTo>
                    <a:pt x="405" y="40"/>
                  </a:lnTo>
                  <a:lnTo>
                    <a:pt x="371" y="32"/>
                  </a:lnTo>
                  <a:lnTo>
                    <a:pt x="354" y="64"/>
                  </a:lnTo>
                  <a:lnTo>
                    <a:pt x="320" y="64"/>
                  </a:lnTo>
                  <a:lnTo>
                    <a:pt x="295" y="80"/>
                  </a:lnTo>
                  <a:lnTo>
                    <a:pt x="253" y="72"/>
                  </a:lnTo>
                  <a:lnTo>
                    <a:pt x="228" y="152"/>
                  </a:lnTo>
                  <a:lnTo>
                    <a:pt x="160" y="72"/>
                  </a:lnTo>
                  <a:lnTo>
                    <a:pt x="118" y="136"/>
                  </a:lnTo>
                  <a:lnTo>
                    <a:pt x="25" y="144"/>
                  </a:lnTo>
                  <a:lnTo>
                    <a:pt x="42" y="208"/>
                  </a:lnTo>
                  <a:lnTo>
                    <a:pt x="0" y="232"/>
                  </a:lnTo>
                  <a:lnTo>
                    <a:pt x="25" y="272"/>
                  </a:lnTo>
                  <a:lnTo>
                    <a:pt x="17" y="320"/>
                  </a:lnTo>
                  <a:lnTo>
                    <a:pt x="93" y="352"/>
                  </a:lnTo>
                  <a:lnTo>
                    <a:pt x="76" y="392"/>
                  </a:lnTo>
                  <a:lnTo>
                    <a:pt x="93" y="392"/>
                  </a:lnTo>
                  <a:lnTo>
                    <a:pt x="135" y="376"/>
                  </a:lnTo>
                  <a:lnTo>
                    <a:pt x="160" y="344"/>
                  </a:lnTo>
                  <a:lnTo>
                    <a:pt x="177" y="328"/>
                  </a:lnTo>
                  <a:lnTo>
                    <a:pt x="202" y="320"/>
                  </a:lnTo>
                  <a:lnTo>
                    <a:pt x="244" y="336"/>
                  </a:lnTo>
                  <a:lnTo>
                    <a:pt x="261" y="352"/>
                  </a:lnTo>
                  <a:lnTo>
                    <a:pt x="278" y="368"/>
                  </a:lnTo>
                  <a:lnTo>
                    <a:pt x="312" y="368"/>
                  </a:lnTo>
                  <a:lnTo>
                    <a:pt x="329" y="384"/>
                  </a:lnTo>
                  <a:lnTo>
                    <a:pt x="337" y="424"/>
                  </a:lnTo>
                  <a:lnTo>
                    <a:pt x="362" y="472"/>
                  </a:lnTo>
                  <a:lnTo>
                    <a:pt x="371" y="496"/>
                  </a:lnTo>
                  <a:lnTo>
                    <a:pt x="396" y="512"/>
                  </a:lnTo>
                  <a:lnTo>
                    <a:pt x="430" y="552"/>
                  </a:lnTo>
                  <a:lnTo>
                    <a:pt x="472" y="576"/>
                  </a:lnTo>
                  <a:lnTo>
                    <a:pt x="497" y="592"/>
                  </a:lnTo>
                  <a:lnTo>
                    <a:pt x="514" y="608"/>
                  </a:lnTo>
                  <a:lnTo>
                    <a:pt x="607" y="680"/>
                  </a:lnTo>
                  <a:lnTo>
                    <a:pt x="624" y="696"/>
                  </a:lnTo>
                  <a:lnTo>
                    <a:pt x="649" y="688"/>
                  </a:lnTo>
                  <a:lnTo>
                    <a:pt x="708" y="712"/>
                  </a:lnTo>
                  <a:lnTo>
                    <a:pt x="742" y="744"/>
                  </a:lnTo>
                  <a:lnTo>
                    <a:pt x="767" y="744"/>
                  </a:lnTo>
                  <a:lnTo>
                    <a:pt x="775" y="752"/>
                  </a:lnTo>
                  <a:lnTo>
                    <a:pt x="775" y="768"/>
                  </a:lnTo>
                  <a:lnTo>
                    <a:pt x="809" y="768"/>
                  </a:lnTo>
                  <a:lnTo>
                    <a:pt x="826" y="800"/>
                  </a:lnTo>
                  <a:lnTo>
                    <a:pt x="851" y="824"/>
                  </a:lnTo>
                  <a:lnTo>
                    <a:pt x="893" y="840"/>
                  </a:lnTo>
                  <a:lnTo>
                    <a:pt x="927" y="856"/>
                  </a:lnTo>
                  <a:lnTo>
                    <a:pt x="944" y="904"/>
                  </a:lnTo>
                  <a:lnTo>
                    <a:pt x="978" y="984"/>
                  </a:lnTo>
                  <a:lnTo>
                    <a:pt x="952" y="984"/>
                  </a:lnTo>
                  <a:lnTo>
                    <a:pt x="935" y="1000"/>
                  </a:lnTo>
                  <a:lnTo>
                    <a:pt x="935" y="1016"/>
                  </a:lnTo>
                  <a:lnTo>
                    <a:pt x="927" y="1040"/>
                  </a:lnTo>
                  <a:lnTo>
                    <a:pt x="919" y="1056"/>
                  </a:lnTo>
                  <a:lnTo>
                    <a:pt x="935" y="1072"/>
                  </a:lnTo>
                  <a:lnTo>
                    <a:pt x="952" y="1080"/>
                  </a:lnTo>
                  <a:lnTo>
                    <a:pt x="978" y="1072"/>
                  </a:lnTo>
                  <a:lnTo>
                    <a:pt x="994" y="1040"/>
                  </a:lnTo>
                  <a:lnTo>
                    <a:pt x="1011" y="1000"/>
                  </a:lnTo>
                  <a:lnTo>
                    <a:pt x="1028" y="960"/>
                  </a:lnTo>
                  <a:lnTo>
                    <a:pt x="1070" y="952"/>
                  </a:lnTo>
                  <a:lnTo>
                    <a:pt x="1070" y="904"/>
                  </a:lnTo>
                  <a:lnTo>
                    <a:pt x="1053" y="888"/>
                  </a:lnTo>
                  <a:lnTo>
                    <a:pt x="1028" y="880"/>
                  </a:lnTo>
                  <a:lnTo>
                    <a:pt x="1003" y="864"/>
                  </a:lnTo>
                  <a:lnTo>
                    <a:pt x="994" y="848"/>
                  </a:lnTo>
                  <a:lnTo>
                    <a:pt x="1011" y="800"/>
                  </a:lnTo>
                  <a:lnTo>
                    <a:pt x="1028" y="776"/>
                  </a:lnTo>
                  <a:lnTo>
                    <a:pt x="1045" y="768"/>
                  </a:lnTo>
                  <a:lnTo>
                    <a:pt x="1104" y="776"/>
                  </a:lnTo>
                  <a:lnTo>
                    <a:pt x="1146" y="792"/>
                  </a:lnTo>
                  <a:lnTo>
                    <a:pt x="1180" y="824"/>
                  </a:lnTo>
                  <a:lnTo>
                    <a:pt x="1180" y="784"/>
                  </a:lnTo>
                  <a:lnTo>
                    <a:pt x="1155" y="752"/>
                  </a:lnTo>
                  <a:close/>
                </a:path>
              </a:pathLst>
            </a:custGeom>
            <a:solidFill>
              <a:srgbClr val="003399"/>
            </a:solidFill>
            <a:ln w="12700">
              <a:solidFill>
                <a:srgbClr val="000000"/>
              </a:solidFill>
              <a:round/>
              <a:headEnd/>
              <a:tailEnd/>
            </a:ln>
          </p:spPr>
          <p:txBody>
            <a:bodyPr/>
            <a:lstStyle/>
            <a:p>
              <a:endParaRPr lang="en-US"/>
            </a:p>
          </p:txBody>
        </p:sp>
        <p:sp>
          <p:nvSpPr>
            <p:cNvPr id="34853" name="Freeform 34"/>
            <p:cNvSpPr>
              <a:spLocks/>
            </p:cNvSpPr>
            <p:nvPr/>
          </p:nvSpPr>
          <p:spPr bwMode="auto">
            <a:xfrm>
              <a:off x="3354388" y="3860800"/>
              <a:ext cx="1401763" cy="1303338"/>
            </a:xfrm>
            <a:custGeom>
              <a:avLst/>
              <a:gdLst>
                <a:gd name="T0" fmla="*/ 2147483647 w 1146"/>
                <a:gd name="T1" fmla="*/ 2147483647 h 1088"/>
                <a:gd name="T2" fmla="*/ 2147483647 w 1146"/>
                <a:gd name="T3" fmla="*/ 2147483647 h 1088"/>
                <a:gd name="T4" fmla="*/ 2147483647 w 1146"/>
                <a:gd name="T5" fmla="*/ 2147483647 h 1088"/>
                <a:gd name="T6" fmla="*/ 2147483647 w 1146"/>
                <a:gd name="T7" fmla="*/ 2147483647 h 1088"/>
                <a:gd name="T8" fmla="*/ 2147483647 w 1146"/>
                <a:gd name="T9" fmla="*/ 2147483647 h 1088"/>
                <a:gd name="T10" fmla="*/ 2147483647 w 1146"/>
                <a:gd name="T11" fmla="*/ 2147483647 h 1088"/>
                <a:gd name="T12" fmla="*/ 2147483647 w 1146"/>
                <a:gd name="T13" fmla="*/ 2147483647 h 1088"/>
                <a:gd name="T14" fmla="*/ 2147483647 w 1146"/>
                <a:gd name="T15" fmla="*/ 2147483647 h 1088"/>
                <a:gd name="T16" fmla="*/ 2147483647 w 1146"/>
                <a:gd name="T17" fmla="*/ 2147483647 h 1088"/>
                <a:gd name="T18" fmla="*/ 2147483647 w 1146"/>
                <a:gd name="T19" fmla="*/ 2147483647 h 1088"/>
                <a:gd name="T20" fmla="*/ 2147483647 w 1146"/>
                <a:gd name="T21" fmla="*/ 2147483647 h 1088"/>
                <a:gd name="T22" fmla="*/ 2147483647 w 1146"/>
                <a:gd name="T23" fmla="*/ 2147483647 h 1088"/>
                <a:gd name="T24" fmla="*/ 2147483647 w 1146"/>
                <a:gd name="T25" fmla="*/ 2147483647 h 1088"/>
                <a:gd name="T26" fmla="*/ 2147483647 w 1146"/>
                <a:gd name="T27" fmla="*/ 0 h 1088"/>
                <a:gd name="T28" fmla="*/ 2147483647 w 1146"/>
                <a:gd name="T29" fmla="*/ 2147483647 h 1088"/>
                <a:gd name="T30" fmla="*/ 2147483647 w 1146"/>
                <a:gd name="T31" fmla="*/ 2147483647 h 1088"/>
                <a:gd name="T32" fmla="*/ 2147483647 w 1146"/>
                <a:gd name="T33" fmla="*/ 2147483647 h 1088"/>
                <a:gd name="T34" fmla="*/ 2147483647 w 1146"/>
                <a:gd name="T35" fmla="*/ 2147483647 h 1088"/>
                <a:gd name="T36" fmla="*/ 2147483647 w 1146"/>
                <a:gd name="T37" fmla="*/ 2147483647 h 1088"/>
                <a:gd name="T38" fmla="*/ 2147483647 w 1146"/>
                <a:gd name="T39" fmla="*/ 2147483647 h 1088"/>
                <a:gd name="T40" fmla="*/ 2147483647 w 1146"/>
                <a:gd name="T41" fmla="*/ 2147483647 h 1088"/>
                <a:gd name="T42" fmla="*/ 2147483647 w 1146"/>
                <a:gd name="T43" fmla="*/ 2147483647 h 1088"/>
                <a:gd name="T44" fmla="*/ 2147483647 w 1146"/>
                <a:gd name="T45" fmla="*/ 2147483647 h 1088"/>
                <a:gd name="T46" fmla="*/ 2147483647 w 1146"/>
                <a:gd name="T47" fmla="*/ 2147483647 h 1088"/>
                <a:gd name="T48" fmla="*/ 2147483647 w 1146"/>
                <a:gd name="T49" fmla="*/ 2147483647 h 1088"/>
                <a:gd name="T50" fmla="*/ 2147483647 w 1146"/>
                <a:gd name="T51" fmla="*/ 2147483647 h 1088"/>
                <a:gd name="T52" fmla="*/ 2147483647 w 1146"/>
                <a:gd name="T53" fmla="*/ 2147483647 h 1088"/>
                <a:gd name="T54" fmla="*/ 2147483647 w 1146"/>
                <a:gd name="T55" fmla="*/ 2147483647 h 1088"/>
                <a:gd name="T56" fmla="*/ 2147483647 w 1146"/>
                <a:gd name="T57" fmla="*/ 2147483647 h 1088"/>
                <a:gd name="T58" fmla="*/ 2147483647 w 1146"/>
                <a:gd name="T59" fmla="*/ 2147483647 h 1088"/>
                <a:gd name="T60" fmla="*/ 2147483647 w 1146"/>
                <a:gd name="T61" fmla="*/ 2147483647 h 1088"/>
                <a:gd name="T62" fmla="*/ 2147483647 w 1146"/>
                <a:gd name="T63" fmla="*/ 2147483647 h 1088"/>
                <a:gd name="T64" fmla="*/ 2147483647 w 1146"/>
                <a:gd name="T65" fmla="*/ 2147483647 h 1088"/>
                <a:gd name="T66" fmla="*/ 2147483647 w 1146"/>
                <a:gd name="T67" fmla="*/ 2147483647 h 1088"/>
                <a:gd name="T68" fmla="*/ 2147483647 w 1146"/>
                <a:gd name="T69" fmla="*/ 2147483647 h 1088"/>
                <a:gd name="T70" fmla="*/ 2147483647 w 1146"/>
                <a:gd name="T71" fmla="*/ 2147483647 h 1088"/>
                <a:gd name="T72" fmla="*/ 2147483647 w 1146"/>
                <a:gd name="T73" fmla="*/ 2147483647 h 1088"/>
                <a:gd name="T74" fmla="*/ 2147483647 w 1146"/>
                <a:gd name="T75" fmla="*/ 2147483647 h 1088"/>
                <a:gd name="T76" fmla="*/ 2147483647 w 1146"/>
                <a:gd name="T77" fmla="*/ 2147483647 h 1088"/>
                <a:gd name="T78" fmla="*/ 2147483647 w 1146"/>
                <a:gd name="T79" fmla="*/ 2147483647 h 1088"/>
                <a:gd name="T80" fmla="*/ 2147483647 w 1146"/>
                <a:gd name="T81" fmla="*/ 2147483647 h 1088"/>
                <a:gd name="T82" fmla="*/ 2147483647 w 1146"/>
                <a:gd name="T83" fmla="*/ 2147483647 h 1088"/>
                <a:gd name="T84" fmla="*/ 2147483647 w 1146"/>
                <a:gd name="T85" fmla="*/ 2147483647 h 1088"/>
                <a:gd name="T86" fmla="*/ 2147483647 w 1146"/>
                <a:gd name="T87" fmla="*/ 2147483647 h 1088"/>
                <a:gd name="T88" fmla="*/ 2147483647 w 1146"/>
                <a:gd name="T89" fmla="*/ 2147483647 h 1088"/>
                <a:gd name="T90" fmla="*/ 2147483647 w 1146"/>
                <a:gd name="T91" fmla="*/ 2147483647 h 1088"/>
                <a:gd name="T92" fmla="*/ 2147483647 w 1146"/>
                <a:gd name="T93" fmla="*/ 2147483647 h 1088"/>
                <a:gd name="T94" fmla="*/ 2147483647 w 1146"/>
                <a:gd name="T95" fmla="*/ 2147483647 h 1088"/>
                <a:gd name="T96" fmla="*/ 2147483647 w 1146"/>
                <a:gd name="T97" fmla="*/ 2147483647 h 1088"/>
                <a:gd name="T98" fmla="*/ 2147483647 w 1146"/>
                <a:gd name="T99" fmla="*/ 2147483647 h 1088"/>
                <a:gd name="T100" fmla="*/ 2147483647 w 1146"/>
                <a:gd name="T101" fmla="*/ 2147483647 h 1088"/>
                <a:gd name="T102" fmla="*/ 2147483647 w 1146"/>
                <a:gd name="T103" fmla="*/ 2147483647 h 1088"/>
                <a:gd name="T104" fmla="*/ 2147483647 w 1146"/>
                <a:gd name="T105" fmla="*/ 2147483647 h 1088"/>
                <a:gd name="T106" fmla="*/ 2147483647 w 1146"/>
                <a:gd name="T107" fmla="*/ 2147483647 h 1088"/>
                <a:gd name="T108" fmla="*/ 2147483647 w 1146"/>
                <a:gd name="T109" fmla="*/ 2147483647 h 1088"/>
                <a:gd name="T110" fmla="*/ 2147483647 w 1146"/>
                <a:gd name="T111" fmla="*/ 2147483647 h 1088"/>
                <a:gd name="T112" fmla="*/ 2147483647 w 1146"/>
                <a:gd name="T113" fmla="*/ 2147483647 h 1088"/>
                <a:gd name="T114" fmla="*/ 2147483647 w 1146"/>
                <a:gd name="T115" fmla="*/ 2147483647 h 1088"/>
                <a:gd name="T116" fmla="*/ 2147483647 w 1146"/>
                <a:gd name="T117" fmla="*/ 2147483647 h 10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46"/>
                <a:gd name="T178" fmla="*/ 0 h 1088"/>
                <a:gd name="T179" fmla="*/ 1146 w 1146"/>
                <a:gd name="T180" fmla="*/ 1088 h 10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46" h="1088">
                  <a:moveTo>
                    <a:pt x="1011" y="616"/>
                  </a:moveTo>
                  <a:lnTo>
                    <a:pt x="969" y="600"/>
                  </a:lnTo>
                  <a:lnTo>
                    <a:pt x="935" y="616"/>
                  </a:lnTo>
                  <a:lnTo>
                    <a:pt x="944" y="584"/>
                  </a:lnTo>
                  <a:lnTo>
                    <a:pt x="977" y="544"/>
                  </a:lnTo>
                  <a:lnTo>
                    <a:pt x="986" y="520"/>
                  </a:lnTo>
                  <a:lnTo>
                    <a:pt x="1011" y="504"/>
                  </a:lnTo>
                  <a:lnTo>
                    <a:pt x="1019" y="472"/>
                  </a:lnTo>
                  <a:lnTo>
                    <a:pt x="1053" y="464"/>
                  </a:lnTo>
                  <a:lnTo>
                    <a:pt x="1087" y="448"/>
                  </a:lnTo>
                  <a:lnTo>
                    <a:pt x="1104" y="360"/>
                  </a:lnTo>
                  <a:lnTo>
                    <a:pt x="1112" y="320"/>
                  </a:lnTo>
                  <a:lnTo>
                    <a:pt x="1146" y="288"/>
                  </a:lnTo>
                  <a:lnTo>
                    <a:pt x="1095" y="272"/>
                  </a:lnTo>
                  <a:lnTo>
                    <a:pt x="1036" y="256"/>
                  </a:lnTo>
                  <a:lnTo>
                    <a:pt x="1011" y="248"/>
                  </a:lnTo>
                  <a:lnTo>
                    <a:pt x="986" y="216"/>
                  </a:lnTo>
                  <a:lnTo>
                    <a:pt x="927" y="208"/>
                  </a:lnTo>
                  <a:lnTo>
                    <a:pt x="868" y="168"/>
                  </a:lnTo>
                  <a:lnTo>
                    <a:pt x="851" y="136"/>
                  </a:lnTo>
                  <a:lnTo>
                    <a:pt x="809" y="144"/>
                  </a:lnTo>
                  <a:lnTo>
                    <a:pt x="809" y="112"/>
                  </a:lnTo>
                  <a:lnTo>
                    <a:pt x="767" y="96"/>
                  </a:lnTo>
                  <a:lnTo>
                    <a:pt x="767" y="88"/>
                  </a:lnTo>
                  <a:lnTo>
                    <a:pt x="733" y="72"/>
                  </a:lnTo>
                  <a:lnTo>
                    <a:pt x="708" y="48"/>
                  </a:lnTo>
                  <a:lnTo>
                    <a:pt x="682" y="16"/>
                  </a:lnTo>
                  <a:lnTo>
                    <a:pt x="666" y="0"/>
                  </a:lnTo>
                  <a:lnTo>
                    <a:pt x="623" y="8"/>
                  </a:lnTo>
                  <a:lnTo>
                    <a:pt x="598" y="24"/>
                  </a:lnTo>
                  <a:lnTo>
                    <a:pt x="581" y="88"/>
                  </a:lnTo>
                  <a:lnTo>
                    <a:pt x="564" y="104"/>
                  </a:lnTo>
                  <a:lnTo>
                    <a:pt x="539" y="120"/>
                  </a:lnTo>
                  <a:lnTo>
                    <a:pt x="489" y="136"/>
                  </a:lnTo>
                  <a:lnTo>
                    <a:pt x="463" y="144"/>
                  </a:lnTo>
                  <a:lnTo>
                    <a:pt x="455" y="168"/>
                  </a:lnTo>
                  <a:lnTo>
                    <a:pt x="446" y="184"/>
                  </a:lnTo>
                  <a:lnTo>
                    <a:pt x="413" y="184"/>
                  </a:lnTo>
                  <a:lnTo>
                    <a:pt x="362" y="168"/>
                  </a:lnTo>
                  <a:lnTo>
                    <a:pt x="345" y="160"/>
                  </a:lnTo>
                  <a:lnTo>
                    <a:pt x="328" y="144"/>
                  </a:lnTo>
                  <a:lnTo>
                    <a:pt x="269" y="144"/>
                  </a:lnTo>
                  <a:lnTo>
                    <a:pt x="295" y="200"/>
                  </a:lnTo>
                  <a:lnTo>
                    <a:pt x="303" y="256"/>
                  </a:lnTo>
                  <a:lnTo>
                    <a:pt x="253" y="248"/>
                  </a:lnTo>
                  <a:lnTo>
                    <a:pt x="211" y="240"/>
                  </a:lnTo>
                  <a:lnTo>
                    <a:pt x="194" y="248"/>
                  </a:lnTo>
                  <a:lnTo>
                    <a:pt x="177" y="232"/>
                  </a:lnTo>
                  <a:lnTo>
                    <a:pt x="152" y="208"/>
                  </a:lnTo>
                  <a:lnTo>
                    <a:pt x="126" y="208"/>
                  </a:lnTo>
                  <a:lnTo>
                    <a:pt x="109" y="216"/>
                  </a:lnTo>
                  <a:lnTo>
                    <a:pt x="84" y="216"/>
                  </a:lnTo>
                  <a:lnTo>
                    <a:pt x="34" y="216"/>
                  </a:lnTo>
                  <a:lnTo>
                    <a:pt x="8" y="232"/>
                  </a:lnTo>
                  <a:lnTo>
                    <a:pt x="0" y="240"/>
                  </a:lnTo>
                  <a:lnTo>
                    <a:pt x="8" y="248"/>
                  </a:lnTo>
                  <a:lnTo>
                    <a:pt x="50" y="272"/>
                  </a:lnTo>
                  <a:lnTo>
                    <a:pt x="25" y="272"/>
                  </a:lnTo>
                  <a:lnTo>
                    <a:pt x="17" y="280"/>
                  </a:lnTo>
                  <a:lnTo>
                    <a:pt x="17" y="288"/>
                  </a:lnTo>
                  <a:lnTo>
                    <a:pt x="25" y="304"/>
                  </a:lnTo>
                  <a:lnTo>
                    <a:pt x="42" y="312"/>
                  </a:lnTo>
                  <a:lnTo>
                    <a:pt x="76" y="320"/>
                  </a:lnTo>
                  <a:lnTo>
                    <a:pt x="109" y="328"/>
                  </a:lnTo>
                  <a:lnTo>
                    <a:pt x="135" y="352"/>
                  </a:lnTo>
                  <a:lnTo>
                    <a:pt x="160" y="368"/>
                  </a:lnTo>
                  <a:lnTo>
                    <a:pt x="185" y="376"/>
                  </a:lnTo>
                  <a:lnTo>
                    <a:pt x="194" y="400"/>
                  </a:lnTo>
                  <a:lnTo>
                    <a:pt x="219" y="424"/>
                  </a:lnTo>
                  <a:lnTo>
                    <a:pt x="211" y="448"/>
                  </a:lnTo>
                  <a:lnTo>
                    <a:pt x="244" y="512"/>
                  </a:lnTo>
                  <a:lnTo>
                    <a:pt x="269" y="536"/>
                  </a:lnTo>
                  <a:lnTo>
                    <a:pt x="286" y="560"/>
                  </a:lnTo>
                  <a:lnTo>
                    <a:pt x="278" y="584"/>
                  </a:lnTo>
                  <a:lnTo>
                    <a:pt x="253" y="592"/>
                  </a:lnTo>
                  <a:lnTo>
                    <a:pt x="295" y="640"/>
                  </a:lnTo>
                  <a:lnTo>
                    <a:pt x="269" y="632"/>
                  </a:lnTo>
                  <a:lnTo>
                    <a:pt x="236" y="776"/>
                  </a:lnTo>
                  <a:lnTo>
                    <a:pt x="202" y="848"/>
                  </a:lnTo>
                  <a:lnTo>
                    <a:pt x="177" y="872"/>
                  </a:lnTo>
                  <a:lnTo>
                    <a:pt x="143" y="880"/>
                  </a:lnTo>
                  <a:lnTo>
                    <a:pt x="160" y="888"/>
                  </a:lnTo>
                  <a:lnTo>
                    <a:pt x="211" y="928"/>
                  </a:lnTo>
                  <a:lnTo>
                    <a:pt x="244" y="960"/>
                  </a:lnTo>
                  <a:lnTo>
                    <a:pt x="278" y="968"/>
                  </a:lnTo>
                  <a:lnTo>
                    <a:pt x="320" y="992"/>
                  </a:lnTo>
                  <a:lnTo>
                    <a:pt x="337" y="1016"/>
                  </a:lnTo>
                  <a:lnTo>
                    <a:pt x="396" y="1024"/>
                  </a:lnTo>
                  <a:lnTo>
                    <a:pt x="463" y="1032"/>
                  </a:lnTo>
                  <a:lnTo>
                    <a:pt x="522" y="1056"/>
                  </a:lnTo>
                  <a:lnTo>
                    <a:pt x="581" y="1072"/>
                  </a:lnTo>
                  <a:lnTo>
                    <a:pt x="607" y="1088"/>
                  </a:lnTo>
                  <a:lnTo>
                    <a:pt x="632" y="1080"/>
                  </a:lnTo>
                  <a:lnTo>
                    <a:pt x="640" y="1064"/>
                  </a:lnTo>
                  <a:lnTo>
                    <a:pt x="623" y="1032"/>
                  </a:lnTo>
                  <a:lnTo>
                    <a:pt x="632" y="992"/>
                  </a:lnTo>
                  <a:lnTo>
                    <a:pt x="649" y="968"/>
                  </a:lnTo>
                  <a:lnTo>
                    <a:pt x="682" y="944"/>
                  </a:lnTo>
                  <a:lnTo>
                    <a:pt x="716" y="928"/>
                  </a:lnTo>
                  <a:lnTo>
                    <a:pt x="750" y="928"/>
                  </a:lnTo>
                  <a:lnTo>
                    <a:pt x="842" y="952"/>
                  </a:lnTo>
                  <a:lnTo>
                    <a:pt x="876" y="968"/>
                  </a:lnTo>
                  <a:lnTo>
                    <a:pt x="910" y="984"/>
                  </a:lnTo>
                  <a:lnTo>
                    <a:pt x="944" y="984"/>
                  </a:lnTo>
                  <a:lnTo>
                    <a:pt x="960" y="976"/>
                  </a:lnTo>
                  <a:lnTo>
                    <a:pt x="969" y="968"/>
                  </a:lnTo>
                  <a:lnTo>
                    <a:pt x="977" y="960"/>
                  </a:lnTo>
                  <a:lnTo>
                    <a:pt x="1019" y="928"/>
                  </a:lnTo>
                  <a:lnTo>
                    <a:pt x="1070" y="904"/>
                  </a:lnTo>
                  <a:lnTo>
                    <a:pt x="1087" y="864"/>
                  </a:lnTo>
                  <a:lnTo>
                    <a:pt x="1011" y="832"/>
                  </a:lnTo>
                  <a:lnTo>
                    <a:pt x="1019" y="784"/>
                  </a:lnTo>
                  <a:lnTo>
                    <a:pt x="994" y="744"/>
                  </a:lnTo>
                  <a:lnTo>
                    <a:pt x="1036" y="720"/>
                  </a:lnTo>
                  <a:lnTo>
                    <a:pt x="1019" y="656"/>
                  </a:lnTo>
                  <a:lnTo>
                    <a:pt x="1036" y="656"/>
                  </a:lnTo>
                  <a:lnTo>
                    <a:pt x="1019" y="632"/>
                  </a:lnTo>
                  <a:lnTo>
                    <a:pt x="1011" y="616"/>
                  </a:lnTo>
                  <a:close/>
                </a:path>
              </a:pathLst>
            </a:custGeom>
            <a:solidFill>
              <a:srgbClr val="003399"/>
            </a:solidFill>
            <a:ln w="12700">
              <a:solidFill>
                <a:srgbClr val="000000"/>
              </a:solidFill>
              <a:round/>
              <a:headEnd/>
              <a:tailEnd/>
            </a:ln>
          </p:spPr>
          <p:txBody>
            <a:bodyPr/>
            <a:lstStyle/>
            <a:p>
              <a:endParaRPr lang="en-US"/>
            </a:p>
          </p:txBody>
        </p:sp>
        <p:sp>
          <p:nvSpPr>
            <p:cNvPr id="34854" name="Freeform 35"/>
            <p:cNvSpPr>
              <a:spLocks/>
            </p:cNvSpPr>
            <p:nvPr/>
          </p:nvSpPr>
          <p:spPr bwMode="auto">
            <a:xfrm>
              <a:off x="4168775" y="3832225"/>
              <a:ext cx="401638" cy="277813"/>
            </a:xfrm>
            <a:custGeom>
              <a:avLst/>
              <a:gdLst>
                <a:gd name="T0" fmla="*/ 2147483647 w 328"/>
                <a:gd name="T1" fmla="*/ 2147483647 h 232"/>
                <a:gd name="T2" fmla="*/ 2147483647 w 328"/>
                <a:gd name="T3" fmla="*/ 2147483647 h 232"/>
                <a:gd name="T4" fmla="*/ 2147483647 w 328"/>
                <a:gd name="T5" fmla="*/ 2147483647 h 232"/>
                <a:gd name="T6" fmla="*/ 2147483647 w 328"/>
                <a:gd name="T7" fmla="*/ 2147483647 h 232"/>
                <a:gd name="T8" fmla="*/ 2147483647 w 328"/>
                <a:gd name="T9" fmla="*/ 2147483647 h 232"/>
                <a:gd name="T10" fmla="*/ 2147483647 w 328"/>
                <a:gd name="T11" fmla="*/ 2147483647 h 232"/>
                <a:gd name="T12" fmla="*/ 2147483647 w 328"/>
                <a:gd name="T13" fmla="*/ 2147483647 h 232"/>
                <a:gd name="T14" fmla="*/ 2147483647 w 328"/>
                <a:gd name="T15" fmla="*/ 2147483647 h 232"/>
                <a:gd name="T16" fmla="*/ 2147483647 w 328"/>
                <a:gd name="T17" fmla="*/ 2147483647 h 232"/>
                <a:gd name="T18" fmla="*/ 2147483647 w 328"/>
                <a:gd name="T19" fmla="*/ 2147483647 h 232"/>
                <a:gd name="T20" fmla="*/ 2147483647 w 328"/>
                <a:gd name="T21" fmla="*/ 2147483647 h 232"/>
                <a:gd name="T22" fmla="*/ 2147483647 w 328"/>
                <a:gd name="T23" fmla="*/ 2147483647 h 232"/>
                <a:gd name="T24" fmla="*/ 2147483647 w 328"/>
                <a:gd name="T25" fmla="*/ 2147483647 h 232"/>
                <a:gd name="T26" fmla="*/ 2147483647 w 328"/>
                <a:gd name="T27" fmla="*/ 0 h 232"/>
                <a:gd name="T28" fmla="*/ 2147483647 w 328"/>
                <a:gd name="T29" fmla="*/ 2147483647 h 232"/>
                <a:gd name="T30" fmla="*/ 0 w 328"/>
                <a:gd name="T31" fmla="*/ 2147483647 h 232"/>
                <a:gd name="T32" fmla="*/ 2147483647 w 328"/>
                <a:gd name="T33" fmla="*/ 2147483647 h 232"/>
                <a:gd name="T34" fmla="*/ 2147483647 w 328"/>
                <a:gd name="T35" fmla="*/ 2147483647 h 232"/>
                <a:gd name="T36" fmla="*/ 2147483647 w 328"/>
                <a:gd name="T37" fmla="*/ 2147483647 h 232"/>
                <a:gd name="T38" fmla="*/ 2147483647 w 328"/>
                <a:gd name="T39" fmla="*/ 2147483647 h 232"/>
                <a:gd name="T40" fmla="*/ 2147483647 w 328"/>
                <a:gd name="T41" fmla="*/ 2147483647 h 232"/>
                <a:gd name="T42" fmla="*/ 2147483647 w 328"/>
                <a:gd name="T43" fmla="*/ 2147483647 h 232"/>
                <a:gd name="T44" fmla="*/ 2147483647 w 328"/>
                <a:gd name="T45" fmla="*/ 2147483647 h 232"/>
                <a:gd name="T46" fmla="*/ 2147483647 w 328"/>
                <a:gd name="T47" fmla="*/ 2147483647 h 232"/>
                <a:gd name="T48" fmla="*/ 2147483647 w 328"/>
                <a:gd name="T49" fmla="*/ 2147483647 h 232"/>
                <a:gd name="T50" fmla="*/ 2147483647 w 328"/>
                <a:gd name="T51" fmla="*/ 2147483647 h 232"/>
                <a:gd name="T52" fmla="*/ 2147483647 w 328"/>
                <a:gd name="T53" fmla="*/ 2147483647 h 232"/>
                <a:gd name="T54" fmla="*/ 2147483647 w 328"/>
                <a:gd name="T55" fmla="*/ 2147483647 h 232"/>
                <a:gd name="T56" fmla="*/ 2147483647 w 328"/>
                <a:gd name="T57" fmla="*/ 2147483647 h 2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8"/>
                <a:gd name="T88" fmla="*/ 0 h 232"/>
                <a:gd name="T89" fmla="*/ 328 w 328"/>
                <a:gd name="T90" fmla="*/ 232 h 23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8" h="232">
                  <a:moveTo>
                    <a:pt x="278" y="184"/>
                  </a:moveTo>
                  <a:lnTo>
                    <a:pt x="286" y="168"/>
                  </a:lnTo>
                  <a:lnTo>
                    <a:pt x="311" y="160"/>
                  </a:lnTo>
                  <a:lnTo>
                    <a:pt x="328" y="144"/>
                  </a:lnTo>
                  <a:lnTo>
                    <a:pt x="328" y="112"/>
                  </a:lnTo>
                  <a:lnTo>
                    <a:pt x="303" y="88"/>
                  </a:lnTo>
                  <a:lnTo>
                    <a:pt x="269" y="72"/>
                  </a:lnTo>
                  <a:lnTo>
                    <a:pt x="278" y="48"/>
                  </a:lnTo>
                  <a:lnTo>
                    <a:pt x="261" y="24"/>
                  </a:lnTo>
                  <a:lnTo>
                    <a:pt x="219" y="16"/>
                  </a:lnTo>
                  <a:lnTo>
                    <a:pt x="168" y="8"/>
                  </a:lnTo>
                  <a:lnTo>
                    <a:pt x="134" y="24"/>
                  </a:lnTo>
                  <a:lnTo>
                    <a:pt x="101" y="16"/>
                  </a:lnTo>
                  <a:lnTo>
                    <a:pt x="75" y="0"/>
                  </a:lnTo>
                  <a:lnTo>
                    <a:pt x="42" y="16"/>
                  </a:lnTo>
                  <a:lnTo>
                    <a:pt x="0" y="24"/>
                  </a:lnTo>
                  <a:lnTo>
                    <a:pt x="16" y="40"/>
                  </a:lnTo>
                  <a:lnTo>
                    <a:pt x="42" y="72"/>
                  </a:lnTo>
                  <a:lnTo>
                    <a:pt x="67" y="96"/>
                  </a:lnTo>
                  <a:lnTo>
                    <a:pt x="101" y="112"/>
                  </a:lnTo>
                  <a:lnTo>
                    <a:pt x="101" y="120"/>
                  </a:lnTo>
                  <a:lnTo>
                    <a:pt x="143" y="136"/>
                  </a:lnTo>
                  <a:lnTo>
                    <a:pt x="143" y="168"/>
                  </a:lnTo>
                  <a:lnTo>
                    <a:pt x="185" y="160"/>
                  </a:lnTo>
                  <a:lnTo>
                    <a:pt x="202" y="192"/>
                  </a:lnTo>
                  <a:lnTo>
                    <a:pt x="261" y="232"/>
                  </a:lnTo>
                  <a:lnTo>
                    <a:pt x="278" y="232"/>
                  </a:lnTo>
                  <a:lnTo>
                    <a:pt x="278" y="208"/>
                  </a:lnTo>
                  <a:lnTo>
                    <a:pt x="278" y="184"/>
                  </a:lnTo>
                  <a:close/>
                </a:path>
              </a:pathLst>
            </a:custGeom>
            <a:solidFill>
              <a:schemeClr val="bg1"/>
            </a:solidFill>
            <a:ln w="12700">
              <a:solidFill>
                <a:srgbClr val="000000"/>
              </a:solidFill>
              <a:round/>
              <a:headEnd/>
              <a:tailEnd/>
            </a:ln>
          </p:spPr>
          <p:txBody>
            <a:bodyPr/>
            <a:lstStyle/>
            <a:p>
              <a:endParaRPr lang="en-US"/>
            </a:p>
          </p:txBody>
        </p:sp>
        <p:sp>
          <p:nvSpPr>
            <p:cNvPr id="34855" name="Freeform 36"/>
            <p:cNvSpPr>
              <a:spLocks/>
            </p:cNvSpPr>
            <p:nvPr/>
          </p:nvSpPr>
          <p:spPr bwMode="auto">
            <a:xfrm>
              <a:off x="4508500" y="4022725"/>
              <a:ext cx="73025" cy="96838"/>
            </a:xfrm>
            <a:custGeom>
              <a:avLst/>
              <a:gdLst>
                <a:gd name="T0" fmla="*/ 2147483647 w 59"/>
                <a:gd name="T1" fmla="*/ 2147483647 h 80"/>
                <a:gd name="T2" fmla="*/ 2147483647 w 59"/>
                <a:gd name="T3" fmla="*/ 0 h 80"/>
                <a:gd name="T4" fmla="*/ 2147483647 w 59"/>
                <a:gd name="T5" fmla="*/ 2147483647 h 80"/>
                <a:gd name="T6" fmla="*/ 0 w 59"/>
                <a:gd name="T7" fmla="*/ 2147483647 h 80"/>
                <a:gd name="T8" fmla="*/ 0 w 59"/>
                <a:gd name="T9" fmla="*/ 2147483647 h 80"/>
                <a:gd name="T10" fmla="*/ 0 w 59"/>
                <a:gd name="T11" fmla="*/ 2147483647 h 80"/>
                <a:gd name="T12" fmla="*/ 2147483647 w 59"/>
                <a:gd name="T13" fmla="*/ 2147483647 h 80"/>
                <a:gd name="T14" fmla="*/ 2147483647 w 59"/>
                <a:gd name="T15" fmla="*/ 2147483647 h 80"/>
                <a:gd name="T16" fmla="*/ 2147483647 w 59"/>
                <a:gd name="T17" fmla="*/ 2147483647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0"/>
                <a:gd name="T29" fmla="*/ 59 w 59"/>
                <a:gd name="T30" fmla="*/ 80 h 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0">
                  <a:moveTo>
                    <a:pt x="25" y="24"/>
                  </a:moveTo>
                  <a:lnTo>
                    <a:pt x="25" y="0"/>
                  </a:lnTo>
                  <a:lnTo>
                    <a:pt x="8" y="8"/>
                  </a:lnTo>
                  <a:lnTo>
                    <a:pt x="0" y="24"/>
                  </a:lnTo>
                  <a:lnTo>
                    <a:pt x="0" y="48"/>
                  </a:lnTo>
                  <a:lnTo>
                    <a:pt x="0" y="72"/>
                  </a:lnTo>
                  <a:lnTo>
                    <a:pt x="42" y="80"/>
                  </a:lnTo>
                  <a:lnTo>
                    <a:pt x="59" y="48"/>
                  </a:lnTo>
                  <a:lnTo>
                    <a:pt x="25"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56" name="Freeform 37"/>
            <p:cNvSpPr>
              <a:spLocks/>
            </p:cNvSpPr>
            <p:nvPr/>
          </p:nvSpPr>
          <p:spPr bwMode="auto">
            <a:xfrm>
              <a:off x="4260850" y="3543300"/>
              <a:ext cx="412750" cy="384175"/>
            </a:xfrm>
            <a:custGeom>
              <a:avLst/>
              <a:gdLst>
                <a:gd name="T0" fmla="*/ 2147483647 w 337"/>
                <a:gd name="T1" fmla="*/ 2147483647 h 320"/>
                <a:gd name="T2" fmla="*/ 2147483647 w 337"/>
                <a:gd name="T3" fmla="*/ 2147483647 h 320"/>
                <a:gd name="T4" fmla="*/ 2147483647 w 337"/>
                <a:gd name="T5" fmla="*/ 2147483647 h 320"/>
                <a:gd name="T6" fmla="*/ 2147483647 w 337"/>
                <a:gd name="T7" fmla="*/ 2147483647 h 320"/>
                <a:gd name="T8" fmla="*/ 2147483647 w 337"/>
                <a:gd name="T9" fmla="*/ 2147483647 h 320"/>
                <a:gd name="T10" fmla="*/ 2147483647 w 337"/>
                <a:gd name="T11" fmla="*/ 2147483647 h 320"/>
                <a:gd name="T12" fmla="*/ 2147483647 w 337"/>
                <a:gd name="T13" fmla="*/ 2147483647 h 320"/>
                <a:gd name="T14" fmla="*/ 2147483647 w 337"/>
                <a:gd name="T15" fmla="*/ 2147483647 h 320"/>
                <a:gd name="T16" fmla="*/ 2147483647 w 337"/>
                <a:gd name="T17" fmla="*/ 2147483647 h 320"/>
                <a:gd name="T18" fmla="*/ 2147483647 w 337"/>
                <a:gd name="T19" fmla="*/ 2147483647 h 320"/>
                <a:gd name="T20" fmla="*/ 2147483647 w 337"/>
                <a:gd name="T21" fmla="*/ 2147483647 h 320"/>
                <a:gd name="T22" fmla="*/ 2147483647 w 337"/>
                <a:gd name="T23" fmla="*/ 2147483647 h 320"/>
                <a:gd name="T24" fmla="*/ 2147483647 w 337"/>
                <a:gd name="T25" fmla="*/ 0 h 320"/>
                <a:gd name="T26" fmla="*/ 2147483647 w 337"/>
                <a:gd name="T27" fmla="*/ 0 h 320"/>
                <a:gd name="T28" fmla="*/ 2147483647 w 337"/>
                <a:gd name="T29" fmla="*/ 2147483647 h 320"/>
                <a:gd name="T30" fmla="*/ 2147483647 w 337"/>
                <a:gd name="T31" fmla="*/ 2147483647 h 320"/>
                <a:gd name="T32" fmla="*/ 2147483647 w 337"/>
                <a:gd name="T33" fmla="*/ 2147483647 h 320"/>
                <a:gd name="T34" fmla="*/ 2147483647 w 337"/>
                <a:gd name="T35" fmla="*/ 2147483647 h 320"/>
                <a:gd name="T36" fmla="*/ 2147483647 w 337"/>
                <a:gd name="T37" fmla="*/ 2147483647 h 320"/>
                <a:gd name="T38" fmla="*/ 2147483647 w 337"/>
                <a:gd name="T39" fmla="*/ 2147483647 h 320"/>
                <a:gd name="T40" fmla="*/ 2147483647 w 337"/>
                <a:gd name="T41" fmla="*/ 2147483647 h 320"/>
                <a:gd name="T42" fmla="*/ 2147483647 w 337"/>
                <a:gd name="T43" fmla="*/ 2147483647 h 320"/>
                <a:gd name="T44" fmla="*/ 2147483647 w 337"/>
                <a:gd name="T45" fmla="*/ 2147483647 h 320"/>
                <a:gd name="T46" fmla="*/ 2147483647 w 337"/>
                <a:gd name="T47" fmla="*/ 2147483647 h 320"/>
                <a:gd name="T48" fmla="*/ 2147483647 w 337"/>
                <a:gd name="T49" fmla="*/ 2147483647 h 320"/>
                <a:gd name="T50" fmla="*/ 2147483647 w 337"/>
                <a:gd name="T51" fmla="*/ 2147483647 h 320"/>
                <a:gd name="T52" fmla="*/ 2147483647 w 337"/>
                <a:gd name="T53" fmla="*/ 2147483647 h 320"/>
                <a:gd name="T54" fmla="*/ 2147483647 w 337"/>
                <a:gd name="T55" fmla="*/ 2147483647 h 320"/>
                <a:gd name="T56" fmla="*/ 2147483647 w 337"/>
                <a:gd name="T57" fmla="*/ 2147483647 h 320"/>
                <a:gd name="T58" fmla="*/ 2147483647 w 337"/>
                <a:gd name="T59" fmla="*/ 2147483647 h 320"/>
                <a:gd name="T60" fmla="*/ 2147483647 w 337"/>
                <a:gd name="T61" fmla="*/ 2147483647 h 320"/>
                <a:gd name="T62" fmla="*/ 2147483647 w 337"/>
                <a:gd name="T63" fmla="*/ 2147483647 h 320"/>
                <a:gd name="T64" fmla="*/ 0 w 337"/>
                <a:gd name="T65" fmla="*/ 2147483647 h 320"/>
                <a:gd name="T66" fmla="*/ 2147483647 w 337"/>
                <a:gd name="T67" fmla="*/ 2147483647 h 320"/>
                <a:gd name="T68" fmla="*/ 2147483647 w 337"/>
                <a:gd name="T69" fmla="*/ 2147483647 h 320"/>
                <a:gd name="T70" fmla="*/ 2147483647 w 337"/>
                <a:gd name="T71" fmla="*/ 2147483647 h 320"/>
                <a:gd name="T72" fmla="*/ 2147483647 w 337"/>
                <a:gd name="T73" fmla="*/ 2147483647 h 320"/>
                <a:gd name="T74" fmla="*/ 2147483647 w 337"/>
                <a:gd name="T75" fmla="*/ 2147483647 h 320"/>
                <a:gd name="T76" fmla="*/ 2147483647 w 337"/>
                <a:gd name="T77" fmla="*/ 2147483647 h 320"/>
                <a:gd name="T78" fmla="*/ 2147483647 w 337"/>
                <a:gd name="T79" fmla="*/ 2147483647 h 320"/>
                <a:gd name="T80" fmla="*/ 2147483647 w 337"/>
                <a:gd name="T81" fmla="*/ 2147483647 h 320"/>
                <a:gd name="T82" fmla="*/ 2147483647 w 337"/>
                <a:gd name="T83" fmla="*/ 2147483647 h 320"/>
                <a:gd name="T84" fmla="*/ 2147483647 w 337"/>
                <a:gd name="T85" fmla="*/ 2147483647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37"/>
                <a:gd name="T130" fmla="*/ 0 h 320"/>
                <a:gd name="T131" fmla="*/ 337 w 337"/>
                <a:gd name="T132" fmla="*/ 320 h 3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37" h="320">
                  <a:moveTo>
                    <a:pt x="236" y="280"/>
                  </a:moveTo>
                  <a:lnTo>
                    <a:pt x="236" y="232"/>
                  </a:lnTo>
                  <a:lnTo>
                    <a:pt x="236" y="200"/>
                  </a:lnTo>
                  <a:lnTo>
                    <a:pt x="287" y="192"/>
                  </a:lnTo>
                  <a:lnTo>
                    <a:pt x="287" y="168"/>
                  </a:lnTo>
                  <a:lnTo>
                    <a:pt x="312" y="160"/>
                  </a:lnTo>
                  <a:lnTo>
                    <a:pt x="321" y="128"/>
                  </a:lnTo>
                  <a:lnTo>
                    <a:pt x="295" y="104"/>
                  </a:lnTo>
                  <a:lnTo>
                    <a:pt x="321" y="96"/>
                  </a:lnTo>
                  <a:lnTo>
                    <a:pt x="337" y="56"/>
                  </a:lnTo>
                  <a:lnTo>
                    <a:pt x="329" y="16"/>
                  </a:lnTo>
                  <a:lnTo>
                    <a:pt x="321" y="16"/>
                  </a:lnTo>
                  <a:lnTo>
                    <a:pt x="304" y="0"/>
                  </a:lnTo>
                  <a:lnTo>
                    <a:pt x="278" y="0"/>
                  </a:lnTo>
                  <a:lnTo>
                    <a:pt x="219" y="16"/>
                  </a:lnTo>
                  <a:lnTo>
                    <a:pt x="203" y="24"/>
                  </a:lnTo>
                  <a:lnTo>
                    <a:pt x="194" y="48"/>
                  </a:lnTo>
                  <a:lnTo>
                    <a:pt x="203" y="72"/>
                  </a:lnTo>
                  <a:lnTo>
                    <a:pt x="219" y="96"/>
                  </a:lnTo>
                  <a:lnTo>
                    <a:pt x="228" y="112"/>
                  </a:lnTo>
                  <a:lnTo>
                    <a:pt x="211" y="128"/>
                  </a:lnTo>
                  <a:lnTo>
                    <a:pt x="186" y="136"/>
                  </a:lnTo>
                  <a:lnTo>
                    <a:pt x="160" y="120"/>
                  </a:lnTo>
                  <a:lnTo>
                    <a:pt x="169" y="72"/>
                  </a:lnTo>
                  <a:lnTo>
                    <a:pt x="160" y="56"/>
                  </a:lnTo>
                  <a:lnTo>
                    <a:pt x="152" y="32"/>
                  </a:lnTo>
                  <a:lnTo>
                    <a:pt x="110" y="128"/>
                  </a:lnTo>
                  <a:lnTo>
                    <a:pt x="76" y="168"/>
                  </a:lnTo>
                  <a:lnTo>
                    <a:pt x="68" y="216"/>
                  </a:lnTo>
                  <a:lnTo>
                    <a:pt x="42" y="216"/>
                  </a:lnTo>
                  <a:lnTo>
                    <a:pt x="34" y="216"/>
                  </a:lnTo>
                  <a:lnTo>
                    <a:pt x="26" y="232"/>
                  </a:lnTo>
                  <a:lnTo>
                    <a:pt x="0" y="240"/>
                  </a:lnTo>
                  <a:lnTo>
                    <a:pt x="26" y="256"/>
                  </a:lnTo>
                  <a:lnTo>
                    <a:pt x="59" y="264"/>
                  </a:lnTo>
                  <a:lnTo>
                    <a:pt x="93" y="248"/>
                  </a:lnTo>
                  <a:lnTo>
                    <a:pt x="144" y="256"/>
                  </a:lnTo>
                  <a:lnTo>
                    <a:pt x="186" y="264"/>
                  </a:lnTo>
                  <a:lnTo>
                    <a:pt x="203" y="288"/>
                  </a:lnTo>
                  <a:lnTo>
                    <a:pt x="194" y="312"/>
                  </a:lnTo>
                  <a:lnTo>
                    <a:pt x="219" y="320"/>
                  </a:lnTo>
                  <a:lnTo>
                    <a:pt x="219" y="296"/>
                  </a:lnTo>
                  <a:lnTo>
                    <a:pt x="236" y="28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57" name="Freeform 38"/>
            <p:cNvSpPr>
              <a:spLocks/>
            </p:cNvSpPr>
            <p:nvPr/>
          </p:nvSpPr>
          <p:spPr bwMode="auto">
            <a:xfrm>
              <a:off x="4508500" y="4022725"/>
              <a:ext cx="73025" cy="96838"/>
            </a:xfrm>
            <a:custGeom>
              <a:avLst/>
              <a:gdLst>
                <a:gd name="T0" fmla="*/ 2147483647 w 59"/>
                <a:gd name="T1" fmla="*/ 2147483647 h 80"/>
                <a:gd name="T2" fmla="*/ 2147483647 w 59"/>
                <a:gd name="T3" fmla="*/ 0 h 80"/>
                <a:gd name="T4" fmla="*/ 2147483647 w 59"/>
                <a:gd name="T5" fmla="*/ 2147483647 h 80"/>
                <a:gd name="T6" fmla="*/ 0 w 59"/>
                <a:gd name="T7" fmla="*/ 2147483647 h 80"/>
                <a:gd name="T8" fmla="*/ 0 w 59"/>
                <a:gd name="T9" fmla="*/ 2147483647 h 80"/>
                <a:gd name="T10" fmla="*/ 0 w 59"/>
                <a:gd name="T11" fmla="*/ 2147483647 h 80"/>
                <a:gd name="T12" fmla="*/ 2147483647 w 59"/>
                <a:gd name="T13" fmla="*/ 2147483647 h 80"/>
                <a:gd name="T14" fmla="*/ 2147483647 w 59"/>
                <a:gd name="T15" fmla="*/ 2147483647 h 80"/>
                <a:gd name="T16" fmla="*/ 2147483647 w 59"/>
                <a:gd name="T17" fmla="*/ 2147483647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0"/>
                <a:gd name="T29" fmla="*/ 59 w 59"/>
                <a:gd name="T30" fmla="*/ 80 h 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0">
                  <a:moveTo>
                    <a:pt x="25" y="24"/>
                  </a:moveTo>
                  <a:lnTo>
                    <a:pt x="25" y="0"/>
                  </a:lnTo>
                  <a:lnTo>
                    <a:pt x="8" y="8"/>
                  </a:lnTo>
                  <a:lnTo>
                    <a:pt x="0" y="24"/>
                  </a:lnTo>
                  <a:lnTo>
                    <a:pt x="0" y="48"/>
                  </a:lnTo>
                  <a:lnTo>
                    <a:pt x="0" y="72"/>
                  </a:lnTo>
                  <a:lnTo>
                    <a:pt x="42" y="80"/>
                  </a:lnTo>
                  <a:lnTo>
                    <a:pt x="59" y="48"/>
                  </a:lnTo>
                  <a:lnTo>
                    <a:pt x="25" y="24"/>
                  </a:lnTo>
                  <a:close/>
                </a:path>
              </a:pathLst>
            </a:custGeom>
            <a:solidFill>
              <a:schemeClr val="bg1"/>
            </a:solidFill>
            <a:ln w="12700">
              <a:solidFill>
                <a:srgbClr val="000000"/>
              </a:solidFill>
              <a:round/>
              <a:headEnd/>
              <a:tailEnd/>
            </a:ln>
          </p:spPr>
          <p:txBody>
            <a:bodyPr/>
            <a:lstStyle/>
            <a:p>
              <a:endParaRPr lang="en-US"/>
            </a:p>
          </p:txBody>
        </p:sp>
        <p:sp>
          <p:nvSpPr>
            <p:cNvPr id="34858" name="Freeform 39"/>
            <p:cNvSpPr>
              <a:spLocks/>
            </p:cNvSpPr>
            <p:nvPr/>
          </p:nvSpPr>
          <p:spPr bwMode="auto">
            <a:xfrm>
              <a:off x="4260850" y="3543300"/>
              <a:ext cx="412750" cy="384175"/>
            </a:xfrm>
            <a:custGeom>
              <a:avLst/>
              <a:gdLst>
                <a:gd name="T0" fmla="*/ 2147483647 w 337"/>
                <a:gd name="T1" fmla="*/ 2147483647 h 320"/>
                <a:gd name="T2" fmla="*/ 2147483647 w 337"/>
                <a:gd name="T3" fmla="*/ 2147483647 h 320"/>
                <a:gd name="T4" fmla="*/ 2147483647 w 337"/>
                <a:gd name="T5" fmla="*/ 2147483647 h 320"/>
                <a:gd name="T6" fmla="*/ 2147483647 w 337"/>
                <a:gd name="T7" fmla="*/ 2147483647 h 320"/>
                <a:gd name="T8" fmla="*/ 2147483647 w 337"/>
                <a:gd name="T9" fmla="*/ 2147483647 h 320"/>
                <a:gd name="T10" fmla="*/ 2147483647 w 337"/>
                <a:gd name="T11" fmla="*/ 2147483647 h 320"/>
                <a:gd name="T12" fmla="*/ 2147483647 w 337"/>
                <a:gd name="T13" fmla="*/ 2147483647 h 320"/>
                <a:gd name="T14" fmla="*/ 2147483647 w 337"/>
                <a:gd name="T15" fmla="*/ 2147483647 h 320"/>
                <a:gd name="T16" fmla="*/ 2147483647 w 337"/>
                <a:gd name="T17" fmla="*/ 2147483647 h 320"/>
                <a:gd name="T18" fmla="*/ 2147483647 w 337"/>
                <a:gd name="T19" fmla="*/ 2147483647 h 320"/>
                <a:gd name="T20" fmla="*/ 2147483647 w 337"/>
                <a:gd name="T21" fmla="*/ 2147483647 h 320"/>
                <a:gd name="T22" fmla="*/ 2147483647 w 337"/>
                <a:gd name="T23" fmla="*/ 2147483647 h 320"/>
                <a:gd name="T24" fmla="*/ 2147483647 w 337"/>
                <a:gd name="T25" fmla="*/ 0 h 320"/>
                <a:gd name="T26" fmla="*/ 2147483647 w 337"/>
                <a:gd name="T27" fmla="*/ 0 h 320"/>
                <a:gd name="T28" fmla="*/ 2147483647 w 337"/>
                <a:gd name="T29" fmla="*/ 2147483647 h 320"/>
                <a:gd name="T30" fmla="*/ 2147483647 w 337"/>
                <a:gd name="T31" fmla="*/ 2147483647 h 320"/>
                <a:gd name="T32" fmla="*/ 2147483647 w 337"/>
                <a:gd name="T33" fmla="*/ 2147483647 h 320"/>
                <a:gd name="T34" fmla="*/ 2147483647 w 337"/>
                <a:gd name="T35" fmla="*/ 2147483647 h 320"/>
                <a:gd name="T36" fmla="*/ 2147483647 w 337"/>
                <a:gd name="T37" fmla="*/ 2147483647 h 320"/>
                <a:gd name="T38" fmla="*/ 2147483647 w 337"/>
                <a:gd name="T39" fmla="*/ 2147483647 h 320"/>
                <a:gd name="T40" fmla="*/ 2147483647 w 337"/>
                <a:gd name="T41" fmla="*/ 2147483647 h 320"/>
                <a:gd name="T42" fmla="*/ 2147483647 w 337"/>
                <a:gd name="T43" fmla="*/ 2147483647 h 320"/>
                <a:gd name="T44" fmla="*/ 2147483647 w 337"/>
                <a:gd name="T45" fmla="*/ 2147483647 h 320"/>
                <a:gd name="T46" fmla="*/ 2147483647 w 337"/>
                <a:gd name="T47" fmla="*/ 2147483647 h 320"/>
                <a:gd name="T48" fmla="*/ 2147483647 w 337"/>
                <a:gd name="T49" fmla="*/ 2147483647 h 320"/>
                <a:gd name="T50" fmla="*/ 2147483647 w 337"/>
                <a:gd name="T51" fmla="*/ 2147483647 h 320"/>
                <a:gd name="T52" fmla="*/ 2147483647 w 337"/>
                <a:gd name="T53" fmla="*/ 2147483647 h 320"/>
                <a:gd name="T54" fmla="*/ 2147483647 w 337"/>
                <a:gd name="T55" fmla="*/ 2147483647 h 320"/>
                <a:gd name="T56" fmla="*/ 2147483647 w 337"/>
                <a:gd name="T57" fmla="*/ 2147483647 h 320"/>
                <a:gd name="T58" fmla="*/ 2147483647 w 337"/>
                <a:gd name="T59" fmla="*/ 2147483647 h 320"/>
                <a:gd name="T60" fmla="*/ 2147483647 w 337"/>
                <a:gd name="T61" fmla="*/ 2147483647 h 320"/>
                <a:gd name="T62" fmla="*/ 2147483647 w 337"/>
                <a:gd name="T63" fmla="*/ 2147483647 h 320"/>
                <a:gd name="T64" fmla="*/ 0 w 337"/>
                <a:gd name="T65" fmla="*/ 2147483647 h 320"/>
                <a:gd name="T66" fmla="*/ 2147483647 w 337"/>
                <a:gd name="T67" fmla="*/ 2147483647 h 320"/>
                <a:gd name="T68" fmla="*/ 2147483647 w 337"/>
                <a:gd name="T69" fmla="*/ 2147483647 h 320"/>
                <a:gd name="T70" fmla="*/ 2147483647 w 337"/>
                <a:gd name="T71" fmla="*/ 2147483647 h 320"/>
                <a:gd name="T72" fmla="*/ 2147483647 w 337"/>
                <a:gd name="T73" fmla="*/ 2147483647 h 320"/>
                <a:gd name="T74" fmla="*/ 2147483647 w 337"/>
                <a:gd name="T75" fmla="*/ 2147483647 h 320"/>
                <a:gd name="T76" fmla="*/ 2147483647 w 337"/>
                <a:gd name="T77" fmla="*/ 2147483647 h 320"/>
                <a:gd name="T78" fmla="*/ 2147483647 w 337"/>
                <a:gd name="T79" fmla="*/ 2147483647 h 320"/>
                <a:gd name="T80" fmla="*/ 2147483647 w 337"/>
                <a:gd name="T81" fmla="*/ 2147483647 h 320"/>
                <a:gd name="T82" fmla="*/ 2147483647 w 337"/>
                <a:gd name="T83" fmla="*/ 2147483647 h 320"/>
                <a:gd name="T84" fmla="*/ 2147483647 w 337"/>
                <a:gd name="T85" fmla="*/ 2147483647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37"/>
                <a:gd name="T130" fmla="*/ 0 h 320"/>
                <a:gd name="T131" fmla="*/ 337 w 337"/>
                <a:gd name="T132" fmla="*/ 320 h 3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37" h="320">
                  <a:moveTo>
                    <a:pt x="236" y="280"/>
                  </a:moveTo>
                  <a:lnTo>
                    <a:pt x="236" y="232"/>
                  </a:lnTo>
                  <a:lnTo>
                    <a:pt x="236" y="200"/>
                  </a:lnTo>
                  <a:lnTo>
                    <a:pt x="287" y="192"/>
                  </a:lnTo>
                  <a:lnTo>
                    <a:pt x="287" y="168"/>
                  </a:lnTo>
                  <a:lnTo>
                    <a:pt x="312" y="160"/>
                  </a:lnTo>
                  <a:lnTo>
                    <a:pt x="321" y="128"/>
                  </a:lnTo>
                  <a:lnTo>
                    <a:pt x="295" y="104"/>
                  </a:lnTo>
                  <a:lnTo>
                    <a:pt x="321" y="96"/>
                  </a:lnTo>
                  <a:lnTo>
                    <a:pt x="337" y="56"/>
                  </a:lnTo>
                  <a:lnTo>
                    <a:pt x="329" y="16"/>
                  </a:lnTo>
                  <a:lnTo>
                    <a:pt x="321" y="16"/>
                  </a:lnTo>
                  <a:lnTo>
                    <a:pt x="304" y="0"/>
                  </a:lnTo>
                  <a:lnTo>
                    <a:pt x="278" y="0"/>
                  </a:lnTo>
                  <a:lnTo>
                    <a:pt x="219" y="16"/>
                  </a:lnTo>
                  <a:lnTo>
                    <a:pt x="203" y="24"/>
                  </a:lnTo>
                  <a:lnTo>
                    <a:pt x="194" y="48"/>
                  </a:lnTo>
                  <a:lnTo>
                    <a:pt x="203" y="72"/>
                  </a:lnTo>
                  <a:lnTo>
                    <a:pt x="219" y="96"/>
                  </a:lnTo>
                  <a:lnTo>
                    <a:pt x="228" y="112"/>
                  </a:lnTo>
                  <a:lnTo>
                    <a:pt x="211" y="128"/>
                  </a:lnTo>
                  <a:lnTo>
                    <a:pt x="186" y="136"/>
                  </a:lnTo>
                  <a:lnTo>
                    <a:pt x="160" y="120"/>
                  </a:lnTo>
                  <a:lnTo>
                    <a:pt x="169" y="72"/>
                  </a:lnTo>
                  <a:lnTo>
                    <a:pt x="160" y="56"/>
                  </a:lnTo>
                  <a:lnTo>
                    <a:pt x="152" y="32"/>
                  </a:lnTo>
                  <a:lnTo>
                    <a:pt x="110" y="128"/>
                  </a:lnTo>
                  <a:lnTo>
                    <a:pt x="76" y="168"/>
                  </a:lnTo>
                  <a:lnTo>
                    <a:pt x="68" y="216"/>
                  </a:lnTo>
                  <a:lnTo>
                    <a:pt x="42" y="216"/>
                  </a:lnTo>
                  <a:lnTo>
                    <a:pt x="34" y="216"/>
                  </a:lnTo>
                  <a:lnTo>
                    <a:pt x="26" y="232"/>
                  </a:lnTo>
                  <a:lnTo>
                    <a:pt x="0" y="240"/>
                  </a:lnTo>
                  <a:lnTo>
                    <a:pt x="26" y="256"/>
                  </a:lnTo>
                  <a:lnTo>
                    <a:pt x="59" y="264"/>
                  </a:lnTo>
                  <a:lnTo>
                    <a:pt x="93" y="248"/>
                  </a:lnTo>
                  <a:lnTo>
                    <a:pt x="144" y="256"/>
                  </a:lnTo>
                  <a:lnTo>
                    <a:pt x="186" y="264"/>
                  </a:lnTo>
                  <a:lnTo>
                    <a:pt x="203" y="288"/>
                  </a:lnTo>
                  <a:lnTo>
                    <a:pt x="194" y="312"/>
                  </a:lnTo>
                  <a:lnTo>
                    <a:pt x="219" y="320"/>
                  </a:lnTo>
                  <a:lnTo>
                    <a:pt x="219" y="296"/>
                  </a:lnTo>
                  <a:lnTo>
                    <a:pt x="236" y="280"/>
                  </a:lnTo>
                  <a:close/>
                </a:path>
              </a:pathLst>
            </a:custGeom>
            <a:solidFill>
              <a:schemeClr val="bg1"/>
            </a:solidFill>
            <a:ln w="12700">
              <a:solidFill>
                <a:srgbClr val="000000"/>
              </a:solidFill>
              <a:round/>
              <a:headEnd/>
              <a:tailEnd/>
            </a:ln>
          </p:spPr>
          <p:txBody>
            <a:bodyPr/>
            <a:lstStyle/>
            <a:p>
              <a:endParaRPr lang="en-US"/>
            </a:p>
          </p:txBody>
        </p:sp>
        <p:sp>
          <p:nvSpPr>
            <p:cNvPr id="34859" name="Freeform 40"/>
            <p:cNvSpPr>
              <a:spLocks/>
            </p:cNvSpPr>
            <p:nvPr/>
          </p:nvSpPr>
          <p:spPr bwMode="auto">
            <a:xfrm>
              <a:off x="4765675" y="2959100"/>
              <a:ext cx="258763" cy="412750"/>
            </a:xfrm>
            <a:custGeom>
              <a:avLst/>
              <a:gdLst>
                <a:gd name="T0" fmla="*/ 2147483647 w 211"/>
                <a:gd name="T1" fmla="*/ 2147483647 h 344"/>
                <a:gd name="T2" fmla="*/ 2147483647 w 211"/>
                <a:gd name="T3" fmla="*/ 2147483647 h 344"/>
                <a:gd name="T4" fmla="*/ 2147483647 w 211"/>
                <a:gd name="T5" fmla="*/ 2147483647 h 344"/>
                <a:gd name="T6" fmla="*/ 2147483647 w 211"/>
                <a:gd name="T7" fmla="*/ 2147483647 h 344"/>
                <a:gd name="T8" fmla="*/ 2147483647 w 211"/>
                <a:gd name="T9" fmla="*/ 2147483647 h 344"/>
                <a:gd name="T10" fmla="*/ 2147483647 w 211"/>
                <a:gd name="T11" fmla="*/ 2147483647 h 344"/>
                <a:gd name="T12" fmla="*/ 2147483647 w 211"/>
                <a:gd name="T13" fmla="*/ 2147483647 h 344"/>
                <a:gd name="T14" fmla="*/ 2147483647 w 211"/>
                <a:gd name="T15" fmla="*/ 2147483647 h 344"/>
                <a:gd name="T16" fmla="*/ 2147483647 w 211"/>
                <a:gd name="T17" fmla="*/ 2147483647 h 344"/>
                <a:gd name="T18" fmla="*/ 2147483647 w 211"/>
                <a:gd name="T19" fmla="*/ 2147483647 h 344"/>
                <a:gd name="T20" fmla="*/ 2147483647 w 211"/>
                <a:gd name="T21" fmla="*/ 2147483647 h 344"/>
                <a:gd name="T22" fmla="*/ 2147483647 w 211"/>
                <a:gd name="T23" fmla="*/ 2147483647 h 344"/>
                <a:gd name="T24" fmla="*/ 2147483647 w 211"/>
                <a:gd name="T25" fmla="*/ 0 h 344"/>
                <a:gd name="T26" fmla="*/ 2147483647 w 211"/>
                <a:gd name="T27" fmla="*/ 2147483647 h 344"/>
                <a:gd name="T28" fmla="*/ 2147483647 w 211"/>
                <a:gd name="T29" fmla="*/ 2147483647 h 344"/>
                <a:gd name="T30" fmla="*/ 2147483647 w 211"/>
                <a:gd name="T31" fmla="*/ 2147483647 h 344"/>
                <a:gd name="T32" fmla="*/ 2147483647 w 211"/>
                <a:gd name="T33" fmla="*/ 2147483647 h 344"/>
                <a:gd name="T34" fmla="*/ 2147483647 w 211"/>
                <a:gd name="T35" fmla="*/ 2147483647 h 344"/>
                <a:gd name="T36" fmla="*/ 2147483647 w 211"/>
                <a:gd name="T37" fmla="*/ 2147483647 h 344"/>
                <a:gd name="T38" fmla="*/ 2147483647 w 211"/>
                <a:gd name="T39" fmla="*/ 2147483647 h 344"/>
                <a:gd name="T40" fmla="*/ 2147483647 w 211"/>
                <a:gd name="T41" fmla="*/ 2147483647 h 344"/>
                <a:gd name="T42" fmla="*/ 2147483647 w 211"/>
                <a:gd name="T43" fmla="*/ 2147483647 h 344"/>
                <a:gd name="T44" fmla="*/ 2147483647 w 211"/>
                <a:gd name="T45" fmla="*/ 2147483647 h 344"/>
                <a:gd name="T46" fmla="*/ 2147483647 w 211"/>
                <a:gd name="T47" fmla="*/ 2147483647 h 344"/>
                <a:gd name="T48" fmla="*/ 2147483647 w 211"/>
                <a:gd name="T49" fmla="*/ 2147483647 h 344"/>
                <a:gd name="T50" fmla="*/ 0 w 211"/>
                <a:gd name="T51" fmla="*/ 2147483647 h 344"/>
                <a:gd name="T52" fmla="*/ 0 w 211"/>
                <a:gd name="T53" fmla="*/ 2147483647 h 344"/>
                <a:gd name="T54" fmla="*/ 2147483647 w 211"/>
                <a:gd name="T55" fmla="*/ 2147483647 h 344"/>
                <a:gd name="T56" fmla="*/ 2147483647 w 211"/>
                <a:gd name="T57" fmla="*/ 2147483647 h 344"/>
                <a:gd name="T58" fmla="*/ 2147483647 w 211"/>
                <a:gd name="T59" fmla="*/ 2147483647 h 344"/>
                <a:gd name="T60" fmla="*/ 2147483647 w 211"/>
                <a:gd name="T61" fmla="*/ 2147483647 h 344"/>
                <a:gd name="T62" fmla="*/ 2147483647 w 211"/>
                <a:gd name="T63" fmla="*/ 2147483647 h 344"/>
                <a:gd name="T64" fmla="*/ 2147483647 w 211"/>
                <a:gd name="T65" fmla="*/ 2147483647 h 3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1"/>
                <a:gd name="T100" fmla="*/ 0 h 344"/>
                <a:gd name="T101" fmla="*/ 211 w 211"/>
                <a:gd name="T102" fmla="*/ 344 h 3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1" h="344">
                  <a:moveTo>
                    <a:pt x="143" y="344"/>
                  </a:moveTo>
                  <a:lnTo>
                    <a:pt x="118" y="312"/>
                  </a:lnTo>
                  <a:lnTo>
                    <a:pt x="143" y="312"/>
                  </a:lnTo>
                  <a:lnTo>
                    <a:pt x="127" y="280"/>
                  </a:lnTo>
                  <a:lnTo>
                    <a:pt x="127" y="248"/>
                  </a:lnTo>
                  <a:lnTo>
                    <a:pt x="169" y="184"/>
                  </a:lnTo>
                  <a:lnTo>
                    <a:pt x="186" y="192"/>
                  </a:lnTo>
                  <a:lnTo>
                    <a:pt x="211" y="136"/>
                  </a:lnTo>
                  <a:lnTo>
                    <a:pt x="177" y="112"/>
                  </a:lnTo>
                  <a:lnTo>
                    <a:pt x="169" y="72"/>
                  </a:lnTo>
                  <a:lnTo>
                    <a:pt x="177" y="24"/>
                  </a:lnTo>
                  <a:lnTo>
                    <a:pt x="177" y="8"/>
                  </a:lnTo>
                  <a:lnTo>
                    <a:pt x="160" y="0"/>
                  </a:lnTo>
                  <a:lnTo>
                    <a:pt x="135" y="8"/>
                  </a:lnTo>
                  <a:lnTo>
                    <a:pt x="127" y="24"/>
                  </a:lnTo>
                  <a:lnTo>
                    <a:pt x="101" y="40"/>
                  </a:lnTo>
                  <a:lnTo>
                    <a:pt x="76" y="48"/>
                  </a:lnTo>
                  <a:lnTo>
                    <a:pt x="51" y="56"/>
                  </a:lnTo>
                  <a:lnTo>
                    <a:pt x="34" y="72"/>
                  </a:lnTo>
                  <a:lnTo>
                    <a:pt x="26" y="96"/>
                  </a:lnTo>
                  <a:lnTo>
                    <a:pt x="42" y="112"/>
                  </a:lnTo>
                  <a:lnTo>
                    <a:pt x="17" y="120"/>
                  </a:lnTo>
                  <a:lnTo>
                    <a:pt x="9" y="144"/>
                  </a:lnTo>
                  <a:lnTo>
                    <a:pt x="9" y="168"/>
                  </a:lnTo>
                  <a:lnTo>
                    <a:pt x="26" y="192"/>
                  </a:lnTo>
                  <a:lnTo>
                    <a:pt x="0" y="208"/>
                  </a:lnTo>
                  <a:lnTo>
                    <a:pt x="0" y="224"/>
                  </a:lnTo>
                  <a:lnTo>
                    <a:pt x="26" y="272"/>
                  </a:lnTo>
                  <a:lnTo>
                    <a:pt x="42" y="256"/>
                  </a:lnTo>
                  <a:lnTo>
                    <a:pt x="51" y="304"/>
                  </a:lnTo>
                  <a:lnTo>
                    <a:pt x="59" y="328"/>
                  </a:lnTo>
                  <a:lnTo>
                    <a:pt x="84" y="336"/>
                  </a:lnTo>
                  <a:lnTo>
                    <a:pt x="143" y="34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60" name="Freeform 41"/>
            <p:cNvSpPr>
              <a:spLocks/>
            </p:cNvSpPr>
            <p:nvPr/>
          </p:nvSpPr>
          <p:spPr bwMode="auto">
            <a:xfrm>
              <a:off x="4535488" y="3367088"/>
              <a:ext cx="917575" cy="1063625"/>
            </a:xfrm>
            <a:custGeom>
              <a:avLst/>
              <a:gdLst>
                <a:gd name="T0" fmla="*/ 2147483647 w 750"/>
                <a:gd name="T1" fmla="*/ 2147483647 h 888"/>
                <a:gd name="T2" fmla="*/ 2147483647 w 750"/>
                <a:gd name="T3" fmla="*/ 2147483647 h 888"/>
                <a:gd name="T4" fmla="*/ 2147483647 w 750"/>
                <a:gd name="T5" fmla="*/ 2147483647 h 888"/>
                <a:gd name="T6" fmla="*/ 2147483647 w 750"/>
                <a:gd name="T7" fmla="*/ 2147483647 h 888"/>
                <a:gd name="T8" fmla="*/ 2147483647 w 750"/>
                <a:gd name="T9" fmla="*/ 2147483647 h 888"/>
                <a:gd name="T10" fmla="*/ 2147483647 w 750"/>
                <a:gd name="T11" fmla="*/ 2147483647 h 888"/>
                <a:gd name="T12" fmla="*/ 2147483647 w 750"/>
                <a:gd name="T13" fmla="*/ 2147483647 h 888"/>
                <a:gd name="T14" fmla="*/ 2147483647 w 750"/>
                <a:gd name="T15" fmla="*/ 2147483647 h 888"/>
                <a:gd name="T16" fmla="*/ 2147483647 w 750"/>
                <a:gd name="T17" fmla="*/ 2147483647 h 888"/>
                <a:gd name="T18" fmla="*/ 2147483647 w 750"/>
                <a:gd name="T19" fmla="*/ 2147483647 h 888"/>
                <a:gd name="T20" fmla="*/ 2147483647 w 750"/>
                <a:gd name="T21" fmla="*/ 2147483647 h 888"/>
                <a:gd name="T22" fmla="*/ 2147483647 w 750"/>
                <a:gd name="T23" fmla="*/ 2147483647 h 888"/>
                <a:gd name="T24" fmla="*/ 2147483647 w 750"/>
                <a:gd name="T25" fmla="*/ 2147483647 h 888"/>
                <a:gd name="T26" fmla="*/ 2147483647 w 750"/>
                <a:gd name="T27" fmla="*/ 2147483647 h 888"/>
                <a:gd name="T28" fmla="*/ 2147483647 w 750"/>
                <a:gd name="T29" fmla="*/ 2147483647 h 888"/>
                <a:gd name="T30" fmla="*/ 2147483647 w 750"/>
                <a:gd name="T31" fmla="*/ 2147483647 h 888"/>
                <a:gd name="T32" fmla="*/ 2147483647 w 750"/>
                <a:gd name="T33" fmla="*/ 2147483647 h 888"/>
                <a:gd name="T34" fmla="*/ 2147483647 w 750"/>
                <a:gd name="T35" fmla="*/ 2147483647 h 888"/>
                <a:gd name="T36" fmla="*/ 2147483647 w 750"/>
                <a:gd name="T37" fmla="*/ 2147483647 h 888"/>
                <a:gd name="T38" fmla="*/ 2147483647 w 750"/>
                <a:gd name="T39" fmla="*/ 2147483647 h 888"/>
                <a:gd name="T40" fmla="*/ 2147483647 w 750"/>
                <a:gd name="T41" fmla="*/ 2147483647 h 888"/>
                <a:gd name="T42" fmla="*/ 2147483647 w 750"/>
                <a:gd name="T43" fmla="*/ 2147483647 h 888"/>
                <a:gd name="T44" fmla="*/ 2147483647 w 750"/>
                <a:gd name="T45" fmla="*/ 2147483647 h 888"/>
                <a:gd name="T46" fmla="*/ 2147483647 w 750"/>
                <a:gd name="T47" fmla="*/ 2147483647 h 888"/>
                <a:gd name="T48" fmla="*/ 2147483647 w 750"/>
                <a:gd name="T49" fmla="*/ 2147483647 h 888"/>
                <a:gd name="T50" fmla="*/ 2147483647 w 750"/>
                <a:gd name="T51" fmla="*/ 2147483647 h 888"/>
                <a:gd name="T52" fmla="*/ 2147483647 w 750"/>
                <a:gd name="T53" fmla="*/ 2147483647 h 888"/>
                <a:gd name="T54" fmla="*/ 2147483647 w 750"/>
                <a:gd name="T55" fmla="*/ 0 h 888"/>
                <a:gd name="T56" fmla="*/ 2147483647 w 750"/>
                <a:gd name="T57" fmla="*/ 2147483647 h 888"/>
                <a:gd name="T58" fmla="*/ 2147483647 w 750"/>
                <a:gd name="T59" fmla="*/ 2147483647 h 888"/>
                <a:gd name="T60" fmla="*/ 2147483647 w 750"/>
                <a:gd name="T61" fmla="*/ 2147483647 h 888"/>
                <a:gd name="T62" fmla="*/ 2147483647 w 750"/>
                <a:gd name="T63" fmla="*/ 2147483647 h 888"/>
                <a:gd name="T64" fmla="*/ 2147483647 w 750"/>
                <a:gd name="T65" fmla="*/ 2147483647 h 888"/>
                <a:gd name="T66" fmla="*/ 2147483647 w 750"/>
                <a:gd name="T67" fmla="*/ 2147483647 h 888"/>
                <a:gd name="T68" fmla="*/ 2147483647 w 750"/>
                <a:gd name="T69" fmla="*/ 2147483647 h 888"/>
                <a:gd name="T70" fmla="*/ 2147483647 w 750"/>
                <a:gd name="T71" fmla="*/ 2147483647 h 888"/>
                <a:gd name="T72" fmla="*/ 2147483647 w 750"/>
                <a:gd name="T73" fmla="*/ 2147483647 h 888"/>
                <a:gd name="T74" fmla="*/ 2147483647 w 750"/>
                <a:gd name="T75" fmla="*/ 2147483647 h 888"/>
                <a:gd name="T76" fmla="*/ 2147483647 w 750"/>
                <a:gd name="T77" fmla="*/ 2147483647 h 888"/>
                <a:gd name="T78" fmla="*/ 0 w 750"/>
                <a:gd name="T79" fmla="*/ 2147483647 h 888"/>
                <a:gd name="T80" fmla="*/ 2147483647 w 750"/>
                <a:gd name="T81" fmla="*/ 2147483647 h 888"/>
                <a:gd name="T82" fmla="*/ 2147483647 w 750"/>
                <a:gd name="T83" fmla="*/ 2147483647 h 888"/>
                <a:gd name="T84" fmla="*/ 2147483647 w 750"/>
                <a:gd name="T85" fmla="*/ 2147483647 h 888"/>
                <a:gd name="T86" fmla="*/ 2147483647 w 750"/>
                <a:gd name="T87" fmla="*/ 2147483647 h 888"/>
                <a:gd name="T88" fmla="*/ 2147483647 w 750"/>
                <a:gd name="T89" fmla="*/ 2147483647 h 888"/>
                <a:gd name="T90" fmla="*/ 2147483647 w 750"/>
                <a:gd name="T91" fmla="*/ 2147483647 h 888"/>
                <a:gd name="T92" fmla="*/ 2147483647 w 750"/>
                <a:gd name="T93" fmla="*/ 2147483647 h 888"/>
                <a:gd name="T94" fmla="*/ 2147483647 w 750"/>
                <a:gd name="T95" fmla="*/ 2147483647 h 888"/>
                <a:gd name="T96" fmla="*/ 2147483647 w 750"/>
                <a:gd name="T97" fmla="*/ 2147483647 h 8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50"/>
                <a:gd name="T148" fmla="*/ 0 h 888"/>
                <a:gd name="T149" fmla="*/ 750 w 750"/>
                <a:gd name="T150" fmla="*/ 888 h 8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50" h="888">
                  <a:moveTo>
                    <a:pt x="194" y="864"/>
                  </a:moveTo>
                  <a:lnTo>
                    <a:pt x="228" y="848"/>
                  </a:lnTo>
                  <a:lnTo>
                    <a:pt x="312" y="872"/>
                  </a:lnTo>
                  <a:lnTo>
                    <a:pt x="354" y="888"/>
                  </a:lnTo>
                  <a:lnTo>
                    <a:pt x="388" y="872"/>
                  </a:lnTo>
                  <a:lnTo>
                    <a:pt x="447" y="880"/>
                  </a:lnTo>
                  <a:lnTo>
                    <a:pt x="489" y="872"/>
                  </a:lnTo>
                  <a:lnTo>
                    <a:pt x="557" y="848"/>
                  </a:lnTo>
                  <a:lnTo>
                    <a:pt x="616" y="864"/>
                  </a:lnTo>
                  <a:lnTo>
                    <a:pt x="616" y="832"/>
                  </a:lnTo>
                  <a:lnTo>
                    <a:pt x="599" y="800"/>
                  </a:lnTo>
                  <a:lnTo>
                    <a:pt x="632" y="776"/>
                  </a:lnTo>
                  <a:lnTo>
                    <a:pt x="641" y="744"/>
                  </a:lnTo>
                  <a:lnTo>
                    <a:pt x="675" y="744"/>
                  </a:lnTo>
                  <a:lnTo>
                    <a:pt x="683" y="712"/>
                  </a:lnTo>
                  <a:lnTo>
                    <a:pt x="607" y="656"/>
                  </a:lnTo>
                  <a:lnTo>
                    <a:pt x="548" y="608"/>
                  </a:lnTo>
                  <a:lnTo>
                    <a:pt x="557" y="584"/>
                  </a:lnTo>
                  <a:lnTo>
                    <a:pt x="523" y="544"/>
                  </a:lnTo>
                  <a:lnTo>
                    <a:pt x="557" y="520"/>
                  </a:lnTo>
                  <a:lnTo>
                    <a:pt x="599" y="512"/>
                  </a:lnTo>
                  <a:lnTo>
                    <a:pt x="641" y="488"/>
                  </a:lnTo>
                  <a:lnTo>
                    <a:pt x="683" y="472"/>
                  </a:lnTo>
                  <a:lnTo>
                    <a:pt x="691" y="440"/>
                  </a:lnTo>
                  <a:lnTo>
                    <a:pt x="725" y="440"/>
                  </a:lnTo>
                  <a:lnTo>
                    <a:pt x="750" y="456"/>
                  </a:lnTo>
                  <a:lnTo>
                    <a:pt x="750" y="392"/>
                  </a:lnTo>
                  <a:lnTo>
                    <a:pt x="725" y="360"/>
                  </a:lnTo>
                  <a:lnTo>
                    <a:pt x="742" y="320"/>
                  </a:lnTo>
                  <a:lnTo>
                    <a:pt x="717" y="280"/>
                  </a:lnTo>
                  <a:lnTo>
                    <a:pt x="717" y="248"/>
                  </a:lnTo>
                  <a:lnTo>
                    <a:pt x="666" y="216"/>
                  </a:lnTo>
                  <a:lnTo>
                    <a:pt x="691" y="168"/>
                  </a:lnTo>
                  <a:lnTo>
                    <a:pt x="683" y="136"/>
                  </a:lnTo>
                  <a:lnTo>
                    <a:pt x="675" y="88"/>
                  </a:lnTo>
                  <a:lnTo>
                    <a:pt x="641" y="80"/>
                  </a:lnTo>
                  <a:lnTo>
                    <a:pt x="607" y="64"/>
                  </a:lnTo>
                  <a:lnTo>
                    <a:pt x="616" y="32"/>
                  </a:lnTo>
                  <a:lnTo>
                    <a:pt x="590" y="16"/>
                  </a:lnTo>
                  <a:lnTo>
                    <a:pt x="582" y="32"/>
                  </a:lnTo>
                  <a:lnTo>
                    <a:pt x="573" y="48"/>
                  </a:lnTo>
                  <a:lnTo>
                    <a:pt x="557" y="40"/>
                  </a:lnTo>
                  <a:lnTo>
                    <a:pt x="548" y="40"/>
                  </a:lnTo>
                  <a:lnTo>
                    <a:pt x="540" y="40"/>
                  </a:lnTo>
                  <a:lnTo>
                    <a:pt x="514" y="64"/>
                  </a:lnTo>
                  <a:lnTo>
                    <a:pt x="481" y="72"/>
                  </a:lnTo>
                  <a:lnTo>
                    <a:pt x="464" y="96"/>
                  </a:lnTo>
                  <a:lnTo>
                    <a:pt x="439" y="96"/>
                  </a:lnTo>
                  <a:lnTo>
                    <a:pt x="413" y="88"/>
                  </a:lnTo>
                  <a:lnTo>
                    <a:pt x="430" y="64"/>
                  </a:lnTo>
                  <a:lnTo>
                    <a:pt x="422" y="32"/>
                  </a:lnTo>
                  <a:lnTo>
                    <a:pt x="396" y="56"/>
                  </a:lnTo>
                  <a:lnTo>
                    <a:pt x="346" y="40"/>
                  </a:lnTo>
                  <a:lnTo>
                    <a:pt x="346" y="16"/>
                  </a:lnTo>
                  <a:lnTo>
                    <a:pt x="337" y="8"/>
                  </a:lnTo>
                  <a:lnTo>
                    <a:pt x="253" y="0"/>
                  </a:lnTo>
                  <a:lnTo>
                    <a:pt x="270" y="24"/>
                  </a:lnTo>
                  <a:lnTo>
                    <a:pt x="245" y="40"/>
                  </a:lnTo>
                  <a:lnTo>
                    <a:pt x="245" y="64"/>
                  </a:lnTo>
                  <a:lnTo>
                    <a:pt x="278" y="112"/>
                  </a:lnTo>
                  <a:lnTo>
                    <a:pt x="253" y="112"/>
                  </a:lnTo>
                  <a:lnTo>
                    <a:pt x="236" y="112"/>
                  </a:lnTo>
                  <a:lnTo>
                    <a:pt x="228" y="128"/>
                  </a:lnTo>
                  <a:lnTo>
                    <a:pt x="220" y="136"/>
                  </a:lnTo>
                  <a:lnTo>
                    <a:pt x="211" y="136"/>
                  </a:lnTo>
                  <a:lnTo>
                    <a:pt x="186" y="128"/>
                  </a:lnTo>
                  <a:lnTo>
                    <a:pt x="135" y="128"/>
                  </a:lnTo>
                  <a:lnTo>
                    <a:pt x="110" y="144"/>
                  </a:lnTo>
                  <a:lnTo>
                    <a:pt x="110" y="168"/>
                  </a:lnTo>
                  <a:lnTo>
                    <a:pt x="118" y="208"/>
                  </a:lnTo>
                  <a:lnTo>
                    <a:pt x="102" y="248"/>
                  </a:lnTo>
                  <a:lnTo>
                    <a:pt x="76" y="256"/>
                  </a:lnTo>
                  <a:lnTo>
                    <a:pt x="102" y="280"/>
                  </a:lnTo>
                  <a:lnTo>
                    <a:pt x="93" y="312"/>
                  </a:lnTo>
                  <a:lnTo>
                    <a:pt x="68" y="320"/>
                  </a:lnTo>
                  <a:lnTo>
                    <a:pt x="68" y="344"/>
                  </a:lnTo>
                  <a:lnTo>
                    <a:pt x="17" y="352"/>
                  </a:lnTo>
                  <a:lnTo>
                    <a:pt x="17" y="384"/>
                  </a:lnTo>
                  <a:lnTo>
                    <a:pt x="17" y="432"/>
                  </a:lnTo>
                  <a:lnTo>
                    <a:pt x="0" y="448"/>
                  </a:lnTo>
                  <a:lnTo>
                    <a:pt x="0" y="472"/>
                  </a:lnTo>
                  <a:lnTo>
                    <a:pt x="9" y="480"/>
                  </a:lnTo>
                  <a:lnTo>
                    <a:pt x="34" y="504"/>
                  </a:lnTo>
                  <a:lnTo>
                    <a:pt x="34" y="536"/>
                  </a:lnTo>
                  <a:lnTo>
                    <a:pt x="17" y="552"/>
                  </a:lnTo>
                  <a:lnTo>
                    <a:pt x="9" y="552"/>
                  </a:lnTo>
                  <a:lnTo>
                    <a:pt x="9" y="576"/>
                  </a:lnTo>
                  <a:lnTo>
                    <a:pt x="43" y="600"/>
                  </a:lnTo>
                  <a:lnTo>
                    <a:pt x="26" y="632"/>
                  </a:lnTo>
                  <a:lnTo>
                    <a:pt x="51" y="664"/>
                  </a:lnTo>
                  <a:lnTo>
                    <a:pt x="76" y="672"/>
                  </a:lnTo>
                  <a:lnTo>
                    <a:pt x="135" y="688"/>
                  </a:lnTo>
                  <a:lnTo>
                    <a:pt x="186" y="704"/>
                  </a:lnTo>
                  <a:lnTo>
                    <a:pt x="152" y="736"/>
                  </a:lnTo>
                  <a:lnTo>
                    <a:pt x="144" y="776"/>
                  </a:lnTo>
                  <a:lnTo>
                    <a:pt x="127" y="864"/>
                  </a:lnTo>
                  <a:lnTo>
                    <a:pt x="118" y="864"/>
                  </a:lnTo>
                  <a:lnTo>
                    <a:pt x="144" y="872"/>
                  </a:lnTo>
                  <a:lnTo>
                    <a:pt x="194" y="86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61" name="Freeform 42"/>
            <p:cNvSpPr>
              <a:spLocks/>
            </p:cNvSpPr>
            <p:nvPr/>
          </p:nvSpPr>
          <p:spPr bwMode="auto">
            <a:xfrm>
              <a:off x="4765675" y="2959100"/>
              <a:ext cx="258763" cy="412750"/>
            </a:xfrm>
            <a:custGeom>
              <a:avLst/>
              <a:gdLst>
                <a:gd name="T0" fmla="*/ 2147483647 w 211"/>
                <a:gd name="T1" fmla="*/ 2147483647 h 344"/>
                <a:gd name="T2" fmla="*/ 2147483647 w 211"/>
                <a:gd name="T3" fmla="*/ 2147483647 h 344"/>
                <a:gd name="T4" fmla="*/ 2147483647 w 211"/>
                <a:gd name="T5" fmla="*/ 2147483647 h 344"/>
                <a:gd name="T6" fmla="*/ 2147483647 w 211"/>
                <a:gd name="T7" fmla="*/ 2147483647 h 344"/>
                <a:gd name="T8" fmla="*/ 2147483647 w 211"/>
                <a:gd name="T9" fmla="*/ 2147483647 h 344"/>
                <a:gd name="T10" fmla="*/ 2147483647 w 211"/>
                <a:gd name="T11" fmla="*/ 2147483647 h 344"/>
                <a:gd name="T12" fmla="*/ 2147483647 w 211"/>
                <a:gd name="T13" fmla="*/ 2147483647 h 344"/>
                <a:gd name="T14" fmla="*/ 2147483647 w 211"/>
                <a:gd name="T15" fmla="*/ 2147483647 h 344"/>
                <a:gd name="T16" fmla="*/ 2147483647 w 211"/>
                <a:gd name="T17" fmla="*/ 2147483647 h 344"/>
                <a:gd name="T18" fmla="*/ 2147483647 w 211"/>
                <a:gd name="T19" fmla="*/ 2147483647 h 344"/>
                <a:gd name="T20" fmla="*/ 2147483647 w 211"/>
                <a:gd name="T21" fmla="*/ 2147483647 h 344"/>
                <a:gd name="T22" fmla="*/ 2147483647 w 211"/>
                <a:gd name="T23" fmla="*/ 2147483647 h 344"/>
                <a:gd name="T24" fmla="*/ 2147483647 w 211"/>
                <a:gd name="T25" fmla="*/ 0 h 344"/>
                <a:gd name="T26" fmla="*/ 2147483647 w 211"/>
                <a:gd name="T27" fmla="*/ 2147483647 h 344"/>
                <a:gd name="T28" fmla="*/ 2147483647 w 211"/>
                <a:gd name="T29" fmla="*/ 2147483647 h 344"/>
                <a:gd name="T30" fmla="*/ 2147483647 w 211"/>
                <a:gd name="T31" fmla="*/ 2147483647 h 344"/>
                <a:gd name="T32" fmla="*/ 2147483647 w 211"/>
                <a:gd name="T33" fmla="*/ 2147483647 h 344"/>
                <a:gd name="T34" fmla="*/ 2147483647 w 211"/>
                <a:gd name="T35" fmla="*/ 2147483647 h 344"/>
                <a:gd name="T36" fmla="*/ 2147483647 w 211"/>
                <a:gd name="T37" fmla="*/ 2147483647 h 344"/>
                <a:gd name="T38" fmla="*/ 2147483647 w 211"/>
                <a:gd name="T39" fmla="*/ 2147483647 h 344"/>
                <a:gd name="T40" fmla="*/ 2147483647 w 211"/>
                <a:gd name="T41" fmla="*/ 2147483647 h 344"/>
                <a:gd name="T42" fmla="*/ 2147483647 w 211"/>
                <a:gd name="T43" fmla="*/ 2147483647 h 344"/>
                <a:gd name="T44" fmla="*/ 2147483647 w 211"/>
                <a:gd name="T45" fmla="*/ 2147483647 h 344"/>
                <a:gd name="T46" fmla="*/ 2147483647 w 211"/>
                <a:gd name="T47" fmla="*/ 2147483647 h 344"/>
                <a:gd name="T48" fmla="*/ 2147483647 w 211"/>
                <a:gd name="T49" fmla="*/ 2147483647 h 344"/>
                <a:gd name="T50" fmla="*/ 0 w 211"/>
                <a:gd name="T51" fmla="*/ 2147483647 h 344"/>
                <a:gd name="T52" fmla="*/ 0 w 211"/>
                <a:gd name="T53" fmla="*/ 2147483647 h 344"/>
                <a:gd name="T54" fmla="*/ 2147483647 w 211"/>
                <a:gd name="T55" fmla="*/ 2147483647 h 344"/>
                <a:gd name="T56" fmla="*/ 2147483647 w 211"/>
                <a:gd name="T57" fmla="*/ 2147483647 h 344"/>
                <a:gd name="T58" fmla="*/ 2147483647 w 211"/>
                <a:gd name="T59" fmla="*/ 2147483647 h 344"/>
                <a:gd name="T60" fmla="*/ 2147483647 w 211"/>
                <a:gd name="T61" fmla="*/ 2147483647 h 344"/>
                <a:gd name="T62" fmla="*/ 2147483647 w 211"/>
                <a:gd name="T63" fmla="*/ 2147483647 h 344"/>
                <a:gd name="T64" fmla="*/ 2147483647 w 211"/>
                <a:gd name="T65" fmla="*/ 2147483647 h 3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1"/>
                <a:gd name="T100" fmla="*/ 0 h 344"/>
                <a:gd name="T101" fmla="*/ 211 w 211"/>
                <a:gd name="T102" fmla="*/ 344 h 3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1" h="344">
                  <a:moveTo>
                    <a:pt x="143" y="344"/>
                  </a:moveTo>
                  <a:lnTo>
                    <a:pt x="118" y="312"/>
                  </a:lnTo>
                  <a:lnTo>
                    <a:pt x="143" y="312"/>
                  </a:lnTo>
                  <a:lnTo>
                    <a:pt x="127" y="280"/>
                  </a:lnTo>
                  <a:lnTo>
                    <a:pt x="127" y="248"/>
                  </a:lnTo>
                  <a:lnTo>
                    <a:pt x="169" y="184"/>
                  </a:lnTo>
                  <a:lnTo>
                    <a:pt x="186" y="192"/>
                  </a:lnTo>
                  <a:lnTo>
                    <a:pt x="211" y="136"/>
                  </a:lnTo>
                  <a:lnTo>
                    <a:pt x="177" y="112"/>
                  </a:lnTo>
                  <a:lnTo>
                    <a:pt x="169" y="72"/>
                  </a:lnTo>
                  <a:lnTo>
                    <a:pt x="177" y="24"/>
                  </a:lnTo>
                  <a:lnTo>
                    <a:pt x="177" y="8"/>
                  </a:lnTo>
                  <a:lnTo>
                    <a:pt x="160" y="0"/>
                  </a:lnTo>
                  <a:lnTo>
                    <a:pt x="135" y="8"/>
                  </a:lnTo>
                  <a:lnTo>
                    <a:pt x="127" y="24"/>
                  </a:lnTo>
                  <a:lnTo>
                    <a:pt x="101" y="40"/>
                  </a:lnTo>
                  <a:lnTo>
                    <a:pt x="76" y="48"/>
                  </a:lnTo>
                  <a:lnTo>
                    <a:pt x="51" y="56"/>
                  </a:lnTo>
                  <a:lnTo>
                    <a:pt x="34" y="72"/>
                  </a:lnTo>
                  <a:lnTo>
                    <a:pt x="26" y="96"/>
                  </a:lnTo>
                  <a:lnTo>
                    <a:pt x="42" y="112"/>
                  </a:lnTo>
                  <a:lnTo>
                    <a:pt x="17" y="120"/>
                  </a:lnTo>
                  <a:lnTo>
                    <a:pt x="9" y="144"/>
                  </a:lnTo>
                  <a:lnTo>
                    <a:pt x="9" y="168"/>
                  </a:lnTo>
                  <a:lnTo>
                    <a:pt x="26" y="192"/>
                  </a:lnTo>
                  <a:lnTo>
                    <a:pt x="0" y="208"/>
                  </a:lnTo>
                  <a:lnTo>
                    <a:pt x="0" y="224"/>
                  </a:lnTo>
                  <a:lnTo>
                    <a:pt x="26" y="272"/>
                  </a:lnTo>
                  <a:lnTo>
                    <a:pt x="42" y="256"/>
                  </a:lnTo>
                  <a:lnTo>
                    <a:pt x="51" y="304"/>
                  </a:lnTo>
                  <a:lnTo>
                    <a:pt x="59" y="328"/>
                  </a:lnTo>
                  <a:lnTo>
                    <a:pt x="84" y="336"/>
                  </a:lnTo>
                  <a:lnTo>
                    <a:pt x="143" y="344"/>
                  </a:lnTo>
                  <a:close/>
                </a:path>
              </a:pathLst>
            </a:custGeom>
            <a:solidFill>
              <a:schemeClr val="bg1"/>
            </a:solidFill>
            <a:ln w="12700">
              <a:solidFill>
                <a:srgbClr val="000000"/>
              </a:solidFill>
              <a:round/>
              <a:headEnd/>
              <a:tailEnd/>
            </a:ln>
          </p:spPr>
          <p:txBody>
            <a:bodyPr/>
            <a:lstStyle/>
            <a:p>
              <a:endParaRPr lang="en-US"/>
            </a:p>
          </p:txBody>
        </p:sp>
        <p:sp>
          <p:nvSpPr>
            <p:cNvPr id="34862" name="Freeform 43"/>
            <p:cNvSpPr>
              <a:spLocks/>
            </p:cNvSpPr>
            <p:nvPr/>
          </p:nvSpPr>
          <p:spPr bwMode="auto">
            <a:xfrm>
              <a:off x="4529138" y="3362325"/>
              <a:ext cx="917575" cy="1063625"/>
            </a:xfrm>
            <a:custGeom>
              <a:avLst/>
              <a:gdLst>
                <a:gd name="T0" fmla="*/ 2147483647 w 750"/>
                <a:gd name="T1" fmla="*/ 2147483647 h 888"/>
                <a:gd name="T2" fmla="*/ 2147483647 w 750"/>
                <a:gd name="T3" fmla="*/ 2147483647 h 888"/>
                <a:gd name="T4" fmla="*/ 2147483647 w 750"/>
                <a:gd name="T5" fmla="*/ 2147483647 h 888"/>
                <a:gd name="T6" fmla="*/ 2147483647 w 750"/>
                <a:gd name="T7" fmla="*/ 2147483647 h 888"/>
                <a:gd name="T8" fmla="*/ 2147483647 w 750"/>
                <a:gd name="T9" fmla="*/ 2147483647 h 888"/>
                <a:gd name="T10" fmla="*/ 2147483647 w 750"/>
                <a:gd name="T11" fmla="*/ 2147483647 h 888"/>
                <a:gd name="T12" fmla="*/ 2147483647 w 750"/>
                <a:gd name="T13" fmla="*/ 2147483647 h 888"/>
                <a:gd name="T14" fmla="*/ 2147483647 w 750"/>
                <a:gd name="T15" fmla="*/ 2147483647 h 888"/>
                <a:gd name="T16" fmla="*/ 2147483647 w 750"/>
                <a:gd name="T17" fmla="*/ 2147483647 h 888"/>
                <a:gd name="T18" fmla="*/ 2147483647 w 750"/>
                <a:gd name="T19" fmla="*/ 2147483647 h 888"/>
                <a:gd name="T20" fmla="*/ 2147483647 w 750"/>
                <a:gd name="T21" fmla="*/ 2147483647 h 888"/>
                <a:gd name="T22" fmla="*/ 2147483647 w 750"/>
                <a:gd name="T23" fmla="*/ 2147483647 h 888"/>
                <a:gd name="T24" fmla="*/ 2147483647 w 750"/>
                <a:gd name="T25" fmla="*/ 2147483647 h 888"/>
                <a:gd name="T26" fmla="*/ 2147483647 w 750"/>
                <a:gd name="T27" fmla="*/ 2147483647 h 888"/>
                <a:gd name="T28" fmla="*/ 2147483647 w 750"/>
                <a:gd name="T29" fmla="*/ 2147483647 h 888"/>
                <a:gd name="T30" fmla="*/ 2147483647 w 750"/>
                <a:gd name="T31" fmla="*/ 2147483647 h 888"/>
                <a:gd name="T32" fmla="*/ 2147483647 w 750"/>
                <a:gd name="T33" fmla="*/ 2147483647 h 888"/>
                <a:gd name="T34" fmla="*/ 2147483647 w 750"/>
                <a:gd name="T35" fmla="*/ 2147483647 h 888"/>
                <a:gd name="T36" fmla="*/ 2147483647 w 750"/>
                <a:gd name="T37" fmla="*/ 2147483647 h 888"/>
                <a:gd name="T38" fmla="*/ 2147483647 w 750"/>
                <a:gd name="T39" fmla="*/ 2147483647 h 888"/>
                <a:gd name="T40" fmla="*/ 2147483647 w 750"/>
                <a:gd name="T41" fmla="*/ 2147483647 h 888"/>
                <a:gd name="T42" fmla="*/ 2147483647 w 750"/>
                <a:gd name="T43" fmla="*/ 2147483647 h 888"/>
                <a:gd name="T44" fmla="*/ 2147483647 w 750"/>
                <a:gd name="T45" fmla="*/ 2147483647 h 888"/>
                <a:gd name="T46" fmla="*/ 2147483647 w 750"/>
                <a:gd name="T47" fmla="*/ 2147483647 h 888"/>
                <a:gd name="T48" fmla="*/ 2147483647 w 750"/>
                <a:gd name="T49" fmla="*/ 2147483647 h 888"/>
                <a:gd name="T50" fmla="*/ 2147483647 w 750"/>
                <a:gd name="T51" fmla="*/ 2147483647 h 888"/>
                <a:gd name="T52" fmla="*/ 2147483647 w 750"/>
                <a:gd name="T53" fmla="*/ 2147483647 h 888"/>
                <a:gd name="T54" fmla="*/ 2147483647 w 750"/>
                <a:gd name="T55" fmla="*/ 0 h 888"/>
                <a:gd name="T56" fmla="*/ 2147483647 w 750"/>
                <a:gd name="T57" fmla="*/ 2147483647 h 888"/>
                <a:gd name="T58" fmla="*/ 2147483647 w 750"/>
                <a:gd name="T59" fmla="*/ 2147483647 h 888"/>
                <a:gd name="T60" fmla="*/ 2147483647 w 750"/>
                <a:gd name="T61" fmla="*/ 2147483647 h 888"/>
                <a:gd name="T62" fmla="*/ 2147483647 w 750"/>
                <a:gd name="T63" fmla="*/ 2147483647 h 888"/>
                <a:gd name="T64" fmla="*/ 2147483647 w 750"/>
                <a:gd name="T65" fmla="*/ 2147483647 h 888"/>
                <a:gd name="T66" fmla="*/ 2147483647 w 750"/>
                <a:gd name="T67" fmla="*/ 2147483647 h 888"/>
                <a:gd name="T68" fmla="*/ 2147483647 w 750"/>
                <a:gd name="T69" fmla="*/ 2147483647 h 888"/>
                <a:gd name="T70" fmla="*/ 2147483647 w 750"/>
                <a:gd name="T71" fmla="*/ 2147483647 h 888"/>
                <a:gd name="T72" fmla="*/ 2147483647 w 750"/>
                <a:gd name="T73" fmla="*/ 2147483647 h 888"/>
                <a:gd name="T74" fmla="*/ 2147483647 w 750"/>
                <a:gd name="T75" fmla="*/ 2147483647 h 888"/>
                <a:gd name="T76" fmla="*/ 2147483647 w 750"/>
                <a:gd name="T77" fmla="*/ 2147483647 h 888"/>
                <a:gd name="T78" fmla="*/ 0 w 750"/>
                <a:gd name="T79" fmla="*/ 2147483647 h 888"/>
                <a:gd name="T80" fmla="*/ 2147483647 w 750"/>
                <a:gd name="T81" fmla="*/ 2147483647 h 888"/>
                <a:gd name="T82" fmla="*/ 2147483647 w 750"/>
                <a:gd name="T83" fmla="*/ 2147483647 h 888"/>
                <a:gd name="T84" fmla="*/ 2147483647 w 750"/>
                <a:gd name="T85" fmla="*/ 2147483647 h 888"/>
                <a:gd name="T86" fmla="*/ 2147483647 w 750"/>
                <a:gd name="T87" fmla="*/ 2147483647 h 888"/>
                <a:gd name="T88" fmla="*/ 2147483647 w 750"/>
                <a:gd name="T89" fmla="*/ 2147483647 h 888"/>
                <a:gd name="T90" fmla="*/ 2147483647 w 750"/>
                <a:gd name="T91" fmla="*/ 2147483647 h 888"/>
                <a:gd name="T92" fmla="*/ 2147483647 w 750"/>
                <a:gd name="T93" fmla="*/ 2147483647 h 888"/>
                <a:gd name="T94" fmla="*/ 2147483647 w 750"/>
                <a:gd name="T95" fmla="*/ 2147483647 h 888"/>
                <a:gd name="T96" fmla="*/ 2147483647 w 750"/>
                <a:gd name="T97" fmla="*/ 2147483647 h 888"/>
                <a:gd name="T98" fmla="*/ 2147483647 w 750"/>
                <a:gd name="T99" fmla="*/ 2147483647 h 8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0"/>
                <a:gd name="T151" fmla="*/ 0 h 888"/>
                <a:gd name="T152" fmla="*/ 750 w 750"/>
                <a:gd name="T153" fmla="*/ 888 h 8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0" h="888">
                  <a:moveTo>
                    <a:pt x="194" y="864"/>
                  </a:moveTo>
                  <a:lnTo>
                    <a:pt x="228" y="848"/>
                  </a:lnTo>
                  <a:lnTo>
                    <a:pt x="312" y="872"/>
                  </a:lnTo>
                  <a:lnTo>
                    <a:pt x="354" y="888"/>
                  </a:lnTo>
                  <a:lnTo>
                    <a:pt x="388" y="872"/>
                  </a:lnTo>
                  <a:lnTo>
                    <a:pt x="447" y="880"/>
                  </a:lnTo>
                  <a:lnTo>
                    <a:pt x="489" y="872"/>
                  </a:lnTo>
                  <a:lnTo>
                    <a:pt x="557" y="848"/>
                  </a:lnTo>
                  <a:lnTo>
                    <a:pt x="616" y="864"/>
                  </a:lnTo>
                  <a:lnTo>
                    <a:pt x="616" y="832"/>
                  </a:lnTo>
                  <a:lnTo>
                    <a:pt x="599" y="800"/>
                  </a:lnTo>
                  <a:lnTo>
                    <a:pt x="632" y="776"/>
                  </a:lnTo>
                  <a:lnTo>
                    <a:pt x="641" y="744"/>
                  </a:lnTo>
                  <a:lnTo>
                    <a:pt x="675" y="744"/>
                  </a:lnTo>
                  <a:lnTo>
                    <a:pt x="683" y="712"/>
                  </a:lnTo>
                  <a:lnTo>
                    <a:pt x="607" y="656"/>
                  </a:lnTo>
                  <a:lnTo>
                    <a:pt x="548" y="608"/>
                  </a:lnTo>
                  <a:lnTo>
                    <a:pt x="557" y="584"/>
                  </a:lnTo>
                  <a:lnTo>
                    <a:pt x="523" y="544"/>
                  </a:lnTo>
                  <a:lnTo>
                    <a:pt x="557" y="520"/>
                  </a:lnTo>
                  <a:lnTo>
                    <a:pt x="599" y="512"/>
                  </a:lnTo>
                  <a:lnTo>
                    <a:pt x="641" y="488"/>
                  </a:lnTo>
                  <a:lnTo>
                    <a:pt x="683" y="472"/>
                  </a:lnTo>
                  <a:lnTo>
                    <a:pt x="691" y="440"/>
                  </a:lnTo>
                  <a:lnTo>
                    <a:pt x="725" y="440"/>
                  </a:lnTo>
                  <a:lnTo>
                    <a:pt x="750" y="456"/>
                  </a:lnTo>
                  <a:lnTo>
                    <a:pt x="750" y="392"/>
                  </a:lnTo>
                  <a:lnTo>
                    <a:pt x="725" y="360"/>
                  </a:lnTo>
                  <a:lnTo>
                    <a:pt x="742" y="320"/>
                  </a:lnTo>
                  <a:lnTo>
                    <a:pt x="717" y="280"/>
                  </a:lnTo>
                  <a:lnTo>
                    <a:pt x="717" y="248"/>
                  </a:lnTo>
                  <a:lnTo>
                    <a:pt x="666" y="216"/>
                  </a:lnTo>
                  <a:lnTo>
                    <a:pt x="691" y="168"/>
                  </a:lnTo>
                  <a:lnTo>
                    <a:pt x="683" y="136"/>
                  </a:lnTo>
                  <a:lnTo>
                    <a:pt x="675" y="88"/>
                  </a:lnTo>
                  <a:lnTo>
                    <a:pt x="641" y="80"/>
                  </a:lnTo>
                  <a:lnTo>
                    <a:pt x="607" y="64"/>
                  </a:lnTo>
                  <a:lnTo>
                    <a:pt x="616" y="32"/>
                  </a:lnTo>
                  <a:lnTo>
                    <a:pt x="590" y="16"/>
                  </a:lnTo>
                  <a:lnTo>
                    <a:pt x="582" y="32"/>
                  </a:lnTo>
                  <a:lnTo>
                    <a:pt x="573" y="48"/>
                  </a:lnTo>
                  <a:lnTo>
                    <a:pt x="557" y="40"/>
                  </a:lnTo>
                  <a:lnTo>
                    <a:pt x="548" y="40"/>
                  </a:lnTo>
                  <a:lnTo>
                    <a:pt x="540" y="40"/>
                  </a:lnTo>
                  <a:lnTo>
                    <a:pt x="514" y="64"/>
                  </a:lnTo>
                  <a:lnTo>
                    <a:pt x="481" y="72"/>
                  </a:lnTo>
                  <a:lnTo>
                    <a:pt x="464" y="96"/>
                  </a:lnTo>
                  <a:lnTo>
                    <a:pt x="439" y="96"/>
                  </a:lnTo>
                  <a:lnTo>
                    <a:pt x="413" y="88"/>
                  </a:lnTo>
                  <a:lnTo>
                    <a:pt x="430" y="64"/>
                  </a:lnTo>
                  <a:lnTo>
                    <a:pt x="422" y="32"/>
                  </a:lnTo>
                  <a:lnTo>
                    <a:pt x="396" y="56"/>
                  </a:lnTo>
                  <a:lnTo>
                    <a:pt x="346" y="40"/>
                  </a:lnTo>
                  <a:lnTo>
                    <a:pt x="346" y="16"/>
                  </a:lnTo>
                  <a:lnTo>
                    <a:pt x="337" y="8"/>
                  </a:lnTo>
                  <a:lnTo>
                    <a:pt x="253" y="0"/>
                  </a:lnTo>
                  <a:lnTo>
                    <a:pt x="270" y="24"/>
                  </a:lnTo>
                  <a:lnTo>
                    <a:pt x="245" y="40"/>
                  </a:lnTo>
                  <a:lnTo>
                    <a:pt x="245" y="64"/>
                  </a:lnTo>
                  <a:lnTo>
                    <a:pt x="278" y="112"/>
                  </a:lnTo>
                  <a:lnTo>
                    <a:pt x="253" y="112"/>
                  </a:lnTo>
                  <a:lnTo>
                    <a:pt x="236" y="112"/>
                  </a:lnTo>
                  <a:lnTo>
                    <a:pt x="228" y="128"/>
                  </a:lnTo>
                  <a:lnTo>
                    <a:pt x="220" y="136"/>
                  </a:lnTo>
                  <a:lnTo>
                    <a:pt x="211" y="136"/>
                  </a:lnTo>
                  <a:lnTo>
                    <a:pt x="186" y="128"/>
                  </a:lnTo>
                  <a:lnTo>
                    <a:pt x="135" y="128"/>
                  </a:lnTo>
                  <a:lnTo>
                    <a:pt x="110" y="144"/>
                  </a:lnTo>
                  <a:lnTo>
                    <a:pt x="110" y="168"/>
                  </a:lnTo>
                  <a:lnTo>
                    <a:pt x="118" y="208"/>
                  </a:lnTo>
                  <a:lnTo>
                    <a:pt x="102" y="248"/>
                  </a:lnTo>
                  <a:lnTo>
                    <a:pt x="76" y="256"/>
                  </a:lnTo>
                  <a:lnTo>
                    <a:pt x="102" y="280"/>
                  </a:lnTo>
                  <a:lnTo>
                    <a:pt x="93" y="312"/>
                  </a:lnTo>
                  <a:lnTo>
                    <a:pt x="68" y="320"/>
                  </a:lnTo>
                  <a:lnTo>
                    <a:pt x="68" y="344"/>
                  </a:lnTo>
                  <a:lnTo>
                    <a:pt x="17" y="352"/>
                  </a:lnTo>
                  <a:lnTo>
                    <a:pt x="17" y="384"/>
                  </a:lnTo>
                  <a:lnTo>
                    <a:pt x="17" y="432"/>
                  </a:lnTo>
                  <a:lnTo>
                    <a:pt x="0" y="448"/>
                  </a:lnTo>
                  <a:lnTo>
                    <a:pt x="0" y="472"/>
                  </a:lnTo>
                  <a:lnTo>
                    <a:pt x="9" y="480"/>
                  </a:lnTo>
                  <a:lnTo>
                    <a:pt x="34" y="504"/>
                  </a:lnTo>
                  <a:lnTo>
                    <a:pt x="34" y="536"/>
                  </a:lnTo>
                  <a:lnTo>
                    <a:pt x="17" y="552"/>
                  </a:lnTo>
                  <a:lnTo>
                    <a:pt x="9" y="552"/>
                  </a:lnTo>
                  <a:lnTo>
                    <a:pt x="9" y="576"/>
                  </a:lnTo>
                  <a:lnTo>
                    <a:pt x="43" y="600"/>
                  </a:lnTo>
                  <a:lnTo>
                    <a:pt x="26" y="632"/>
                  </a:lnTo>
                  <a:lnTo>
                    <a:pt x="51" y="664"/>
                  </a:lnTo>
                  <a:lnTo>
                    <a:pt x="76" y="672"/>
                  </a:lnTo>
                  <a:lnTo>
                    <a:pt x="135" y="688"/>
                  </a:lnTo>
                  <a:lnTo>
                    <a:pt x="186" y="704"/>
                  </a:lnTo>
                  <a:lnTo>
                    <a:pt x="152" y="736"/>
                  </a:lnTo>
                  <a:lnTo>
                    <a:pt x="144" y="776"/>
                  </a:lnTo>
                  <a:lnTo>
                    <a:pt x="127" y="864"/>
                  </a:lnTo>
                  <a:lnTo>
                    <a:pt x="118" y="864"/>
                  </a:lnTo>
                  <a:lnTo>
                    <a:pt x="144" y="872"/>
                  </a:lnTo>
                  <a:lnTo>
                    <a:pt x="194" y="864"/>
                  </a:lnTo>
                  <a:close/>
                </a:path>
              </a:pathLst>
            </a:custGeom>
            <a:solidFill>
              <a:srgbClr val="003399"/>
            </a:solidFill>
            <a:ln w="12700">
              <a:solidFill>
                <a:srgbClr val="000000"/>
              </a:solidFill>
              <a:round/>
              <a:headEnd/>
              <a:tailEnd/>
            </a:ln>
          </p:spPr>
          <p:txBody>
            <a:bodyPr/>
            <a:lstStyle/>
            <a:p>
              <a:endParaRPr lang="en-US"/>
            </a:p>
          </p:txBody>
        </p:sp>
        <p:sp>
          <p:nvSpPr>
            <p:cNvPr id="34863" name="Freeform 44"/>
            <p:cNvSpPr>
              <a:spLocks/>
            </p:cNvSpPr>
            <p:nvPr/>
          </p:nvSpPr>
          <p:spPr bwMode="auto">
            <a:xfrm>
              <a:off x="4498975" y="4378325"/>
              <a:ext cx="514350" cy="277813"/>
            </a:xfrm>
            <a:custGeom>
              <a:avLst/>
              <a:gdLst>
                <a:gd name="T0" fmla="*/ 2147483647 w 421"/>
                <a:gd name="T1" fmla="*/ 2147483647 h 232"/>
                <a:gd name="T2" fmla="*/ 2147483647 w 421"/>
                <a:gd name="T3" fmla="*/ 2147483647 h 232"/>
                <a:gd name="T4" fmla="*/ 2147483647 w 421"/>
                <a:gd name="T5" fmla="*/ 2147483647 h 232"/>
                <a:gd name="T6" fmla="*/ 2147483647 w 421"/>
                <a:gd name="T7" fmla="*/ 2147483647 h 232"/>
                <a:gd name="T8" fmla="*/ 2147483647 w 421"/>
                <a:gd name="T9" fmla="*/ 2147483647 h 232"/>
                <a:gd name="T10" fmla="*/ 2147483647 w 421"/>
                <a:gd name="T11" fmla="*/ 0 h 232"/>
                <a:gd name="T12" fmla="*/ 2147483647 w 421"/>
                <a:gd name="T13" fmla="*/ 2147483647 h 232"/>
                <a:gd name="T14" fmla="*/ 2147483647 w 421"/>
                <a:gd name="T15" fmla="*/ 2147483647 h 232"/>
                <a:gd name="T16" fmla="*/ 2147483647 w 421"/>
                <a:gd name="T17" fmla="*/ 2147483647 h 232"/>
                <a:gd name="T18" fmla="*/ 2147483647 w 421"/>
                <a:gd name="T19" fmla="*/ 2147483647 h 232"/>
                <a:gd name="T20" fmla="*/ 2147483647 w 421"/>
                <a:gd name="T21" fmla="*/ 2147483647 h 232"/>
                <a:gd name="T22" fmla="*/ 2147483647 w 421"/>
                <a:gd name="T23" fmla="*/ 2147483647 h 232"/>
                <a:gd name="T24" fmla="*/ 2147483647 w 421"/>
                <a:gd name="T25" fmla="*/ 2147483647 h 232"/>
                <a:gd name="T26" fmla="*/ 2147483647 w 421"/>
                <a:gd name="T27" fmla="*/ 2147483647 h 232"/>
                <a:gd name="T28" fmla="*/ 2147483647 w 421"/>
                <a:gd name="T29" fmla="*/ 2147483647 h 232"/>
                <a:gd name="T30" fmla="*/ 0 w 421"/>
                <a:gd name="T31" fmla="*/ 2147483647 h 232"/>
                <a:gd name="T32" fmla="*/ 2147483647 w 421"/>
                <a:gd name="T33" fmla="*/ 2147483647 h 232"/>
                <a:gd name="T34" fmla="*/ 2147483647 w 421"/>
                <a:gd name="T35" fmla="*/ 2147483647 h 232"/>
                <a:gd name="T36" fmla="*/ 2147483647 w 421"/>
                <a:gd name="T37" fmla="*/ 2147483647 h 232"/>
                <a:gd name="T38" fmla="*/ 2147483647 w 421"/>
                <a:gd name="T39" fmla="*/ 2147483647 h 232"/>
                <a:gd name="T40" fmla="*/ 2147483647 w 421"/>
                <a:gd name="T41" fmla="*/ 2147483647 h 232"/>
                <a:gd name="T42" fmla="*/ 2147483647 w 421"/>
                <a:gd name="T43" fmla="*/ 2147483647 h 232"/>
                <a:gd name="T44" fmla="*/ 2147483647 w 421"/>
                <a:gd name="T45" fmla="*/ 2147483647 h 232"/>
                <a:gd name="T46" fmla="*/ 2147483647 w 421"/>
                <a:gd name="T47" fmla="*/ 2147483647 h 232"/>
                <a:gd name="T48" fmla="*/ 2147483647 w 421"/>
                <a:gd name="T49" fmla="*/ 2147483647 h 232"/>
                <a:gd name="T50" fmla="*/ 2147483647 w 421"/>
                <a:gd name="T51" fmla="*/ 2147483647 h 232"/>
                <a:gd name="T52" fmla="*/ 2147483647 w 421"/>
                <a:gd name="T53" fmla="*/ 2147483647 h 232"/>
                <a:gd name="T54" fmla="*/ 2147483647 w 421"/>
                <a:gd name="T55" fmla="*/ 2147483647 h 232"/>
                <a:gd name="T56" fmla="*/ 2147483647 w 421"/>
                <a:gd name="T57" fmla="*/ 2147483647 h 232"/>
                <a:gd name="T58" fmla="*/ 2147483647 w 421"/>
                <a:gd name="T59" fmla="*/ 2147483647 h 2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21"/>
                <a:gd name="T91" fmla="*/ 0 h 232"/>
                <a:gd name="T92" fmla="*/ 421 w 421"/>
                <a:gd name="T93" fmla="*/ 232 h 23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21" h="232">
                  <a:moveTo>
                    <a:pt x="371" y="104"/>
                  </a:moveTo>
                  <a:lnTo>
                    <a:pt x="354" y="88"/>
                  </a:lnTo>
                  <a:lnTo>
                    <a:pt x="329" y="72"/>
                  </a:lnTo>
                  <a:lnTo>
                    <a:pt x="337" y="32"/>
                  </a:lnTo>
                  <a:lnTo>
                    <a:pt x="337" y="24"/>
                  </a:lnTo>
                  <a:lnTo>
                    <a:pt x="253" y="0"/>
                  </a:lnTo>
                  <a:lnTo>
                    <a:pt x="219" y="16"/>
                  </a:lnTo>
                  <a:lnTo>
                    <a:pt x="169" y="24"/>
                  </a:lnTo>
                  <a:lnTo>
                    <a:pt x="143" y="16"/>
                  </a:lnTo>
                  <a:lnTo>
                    <a:pt x="118" y="32"/>
                  </a:lnTo>
                  <a:lnTo>
                    <a:pt x="84" y="40"/>
                  </a:lnTo>
                  <a:lnTo>
                    <a:pt x="76" y="72"/>
                  </a:lnTo>
                  <a:lnTo>
                    <a:pt x="51" y="88"/>
                  </a:lnTo>
                  <a:lnTo>
                    <a:pt x="42" y="112"/>
                  </a:lnTo>
                  <a:lnTo>
                    <a:pt x="9" y="152"/>
                  </a:lnTo>
                  <a:lnTo>
                    <a:pt x="0" y="184"/>
                  </a:lnTo>
                  <a:lnTo>
                    <a:pt x="34" y="168"/>
                  </a:lnTo>
                  <a:lnTo>
                    <a:pt x="76" y="184"/>
                  </a:lnTo>
                  <a:lnTo>
                    <a:pt x="84" y="200"/>
                  </a:lnTo>
                  <a:lnTo>
                    <a:pt x="101" y="224"/>
                  </a:lnTo>
                  <a:lnTo>
                    <a:pt x="177" y="216"/>
                  </a:lnTo>
                  <a:lnTo>
                    <a:pt x="219" y="152"/>
                  </a:lnTo>
                  <a:lnTo>
                    <a:pt x="287" y="232"/>
                  </a:lnTo>
                  <a:lnTo>
                    <a:pt x="312" y="152"/>
                  </a:lnTo>
                  <a:lnTo>
                    <a:pt x="354" y="160"/>
                  </a:lnTo>
                  <a:lnTo>
                    <a:pt x="379" y="144"/>
                  </a:lnTo>
                  <a:lnTo>
                    <a:pt x="413" y="144"/>
                  </a:lnTo>
                  <a:lnTo>
                    <a:pt x="421" y="136"/>
                  </a:lnTo>
                  <a:lnTo>
                    <a:pt x="413" y="96"/>
                  </a:lnTo>
                  <a:lnTo>
                    <a:pt x="371" y="10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64" name="Freeform 45"/>
            <p:cNvSpPr>
              <a:spLocks/>
            </p:cNvSpPr>
            <p:nvPr/>
          </p:nvSpPr>
          <p:spPr bwMode="auto">
            <a:xfrm>
              <a:off x="4900613" y="4176713"/>
              <a:ext cx="835025" cy="373063"/>
            </a:xfrm>
            <a:custGeom>
              <a:avLst/>
              <a:gdLst>
                <a:gd name="T0" fmla="*/ 2147483647 w 682"/>
                <a:gd name="T1" fmla="*/ 2147483647 h 312"/>
                <a:gd name="T2" fmla="*/ 2147483647 w 682"/>
                <a:gd name="T3" fmla="*/ 2147483647 h 312"/>
                <a:gd name="T4" fmla="*/ 2147483647 w 682"/>
                <a:gd name="T5" fmla="*/ 2147483647 h 312"/>
                <a:gd name="T6" fmla="*/ 2147483647 w 682"/>
                <a:gd name="T7" fmla="*/ 2147483647 h 312"/>
                <a:gd name="T8" fmla="*/ 2147483647 w 682"/>
                <a:gd name="T9" fmla="*/ 2147483647 h 312"/>
                <a:gd name="T10" fmla="*/ 2147483647 w 682"/>
                <a:gd name="T11" fmla="*/ 2147483647 h 312"/>
                <a:gd name="T12" fmla="*/ 2147483647 w 682"/>
                <a:gd name="T13" fmla="*/ 2147483647 h 312"/>
                <a:gd name="T14" fmla="*/ 2147483647 w 682"/>
                <a:gd name="T15" fmla="*/ 2147483647 h 312"/>
                <a:gd name="T16" fmla="*/ 2147483647 w 682"/>
                <a:gd name="T17" fmla="*/ 2147483647 h 312"/>
                <a:gd name="T18" fmla="*/ 2147483647 w 682"/>
                <a:gd name="T19" fmla="*/ 2147483647 h 312"/>
                <a:gd name="T20" fmla="*/ 2147483647 w 682"/>
                <a:gd name="T21" fmla="*/ 2147483647 h 312"/>
                <a:gd name="T22" fmla="*/ 2147483647 w 682"/>
                <a:gd name="T23" fmla="*/ 2147483647 h 312"/>
                <a:gd name="T24" fmla="*/ 2147483647 w 682"/>
                <a:gd name="T25" fmla="*/ 2147483647 h 312"/>
                <a:gd name="T26" fmla="*/ 2147483647 w 682"/>
                <a:gd name="T27" fmla="*/ 0 h 312"/>
                <a:gd name="T28" fmla="*/ 2147483647 w 682"/>
                <a:gd name="T29" fmla="*/ 2147483647 h 312"/>
                <a:gd name="T30" fmla="*/ 2147483647 w 682"/>
                <a:gd name="T31" fmla="*/ 2147483647 h 312"/>
                <a:gd name="T32" fmla="*/ 2147483647 w 682"/>
                <a:gd name="T33" fmla="*/ 2147483647 h 312"/>
                <a:gd name="T34" fmla="*/ 2147483647 w 682"/>
                <a:gd name="T35" fmla="*/ 2147483647 h 312"/>
                <a:gd name="T36" fmla="*/ 2147483647 w 682"/>
                <a:gd name="T37" fmla="*/ 2147483647 h 312"/>
                <a:gd name="T38" fmla="*/ 2147483647 w 682"/>
                <a:gd name="T39" fmla="*/ 2147483647 h 312"/>
                <a:gd name="T40" fmla="*/ 2147483647 w 682"/>
                <a:gd name="T41" fmla="*/ 2147483647 h 312"/>
                <a:gd name="T42" fmla="*/ 2147483647 w 682"/>
                <a:gd name="T43" fmla="*/ 2147483647 h 312"/>
                <a:gd name="T44" fmla="*/ 2147483647 w 682"/>
                <a:gd name="T45" fmla="*/ 2147483647 h 312"/>
                <a:gd name="T46" fmla="*/ 2147483647 w 682"/>
                <a:gd name="T47" fmla="*/ 2147483647 h 312"/>
                <a:gd name="T48" fmla="*/ 2147483647 w 682"/>
                <a:gd name="T49" fmla="*/ 2147483647 h 312"/>
                <a:gd name="T50" fmla="*/ 2147483647 w 682"/>
                <a:gd name="T51" fmla="*/ 2147483647 h 312"/>
                <a:gd name="T52" fmla="*/ 2147483647 w 682"/>
                <a:gd name="T53" fmla="*/ 2147483647 h 312"/>
                <a:gd name="T54" fmla="*/ 2147483647 w 682"/>
                <a:gd name="T55" fmla="*/ 2147483647 h 312"/>
                <a:gd name="T56" fmla="*/ 2147483647 w 682"/>
                <a:gd name="T57" fmla="*/ 2147483647 h 312"/>
                <a:gd name="T58" fmla="*/ 0 w 682"/>
                <a:gd name="T59" fmla="*/ 2147483647 h 312"/>
                <a:gd name="T60" fmla="*/ 2147483647 w 682"/>
                <a:gd name="T61" fmla="*/ 2147483647 h 312"/>
                <a:gd name="T62" fmla="*/ 2147483647 w 682"/>
                <a:gd name="T63" fmla="*/ 2147483647 h 312"/>
                <a:gd name="T64" fmla="*/ 2147483647 w 682"/>
                <a:gd name="T65" fmla="*/ 2147483647 h 312"/>
                <a:gd name="T66" fmla="*/ 2147483647 w 682"/>
                <a:gd name="T67" fmla="*/ 2147483647 h 312"/>
                <a:gd name="T68" fmla="*/ 2147483647 w 682"/>
                <a:gd name="T69" fmla="*/ 2147483647 h 312"/>
                <a:gd name="T70" fmla="*/ 2147483647 w 682"/>
                <a:gd name="T71" fmla="*/ 2147483647 h 312"/>
                <a:gd name="T72" fmla="*/ 2147483647 w 682"/>
                <a:gd name="T73" fmla="*/ 2147483647 h 312"/>
                <a:gd name="T74" fmla="*/ 2147483647 w 682"/>
                <a:gd name="T75" fmla="*/ 2147483647 h 312"/>
                <a:gd name="T76" fmla="*/ 2147483647 w 682"/>
                <a:gd name="T77" fmla="*/ 2147483647 h 312"/>
                <a:gd name="T78" fmla="*/ 2147483647 w 682"/>
                <a:gd name="T79" fmla="*/ 2147483647 h 312"/>
                <a:gd name="T80" fmla="*/ 2147483647 w 682"/>
                <a:gd name="T81" fmla="*/ 2147483647 h 312"/>
                <a:gd name="T82" fmla="*/ 2147483647 w 682"/>
                <a:gd name="T83" fmla="*/ 2147483647 h 312"/>
                <a:gd name="T84" fmla="*/ 2147483647 w 682"/>
                <a:gd name="T85" fmla="*/ 2147483647 h 3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2"/>
                <a:gd name="T130" fmla="*/ 0 h 312"/>
                <a:gd name="T131" fmla="*/ 682 w 682"/>
                <a:gd name="T132" fmla="*/ 312 h 3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2" h="312">
                  <a:moveTo>
                    <a:pt x="472" y="304"/>
                  </a:moveTo>
                  <a:lnTo>
                    <a:pt x="505" y="280"/>
                  </a:lnTo>
                  <a:lnTo>
                    <a:pt x="556" y="280"/>
                  </a:lnTo>
                  <a:lnTo>
                    <a:pt x="598" y="272"/>
                  </a:lnTo>
                  <a:lnTo>
                    <a:pt x="598" y="248"/>
                  </a:lnTo>
                  <a:lnTo>
                    <a:pt x="623" y="224"/>
                  </a:lnTo>
                  <a:lnTo>
                    <a:pt x="632" y="184"/>
                  </a:lnTo>
                  <a:lnTo>
                    <a:pt x="632" y="144"/>
                  </a:lnTo>
                  <a:lnTo>
                    <a:pt x="674" y="128"/>
                  </a:lnTo>
                  <a:lnTo>
                    <a:pt x="682" y="96"/>
                  </a:lnTo>
                  <a:lnTo>
                    <a:pt x="649" y="72"/>
                  </a:lnTo>
                  <a:lnTo>
                    <a:pt x="649" y="24"/>
                  </a:lnTo>
                  <a:lnTo>
                    <a:pt x="564" y="24"/>
                  </a:lnTo>
                  <a:lnTo>
                    <a:pt x="488" y="0"/>
                  </a:lnTo>
                  <a:lnTo>
                    <a:pt x="463" y="48"/>
                  </a:lnTo>
                  <a:lnTo>
                    <a:pt x="413" y="64"/>
                  </a:lnTo>
                  <a:lnTo>
                    <a:pt x="371" y="40"/>
                  </a:lnTo>
                  <a:lnTo>
                    <a:pt x="371" y="64"/>
                  </a:lnTo>
                  <a:lnTo>
                    <a:pt x="337" y="64"/>
                  </a:lnTo>
                  <a:lnTo>
                    <a:pt x="328" y="96"/>
                  </a:lnTo>
                  <a:lnTo>
                    <a:pt x="295" y="120"/>
                  </a:lnTo>
                  <a:lnTo>
                    <a:pt x="312" y="152"/>
                  </a:lnTo>
                  <a:lnTo>
                    <a:pt x="312" y="184"/>
                  </a:lnTo>
                  <a:lnTo>
                    <a:pt x="253" y="168"/>
                  </a:lnTo>
                  <a:lnTo>
                    <a:pt x="185" y="192"/>
                  </a:lnTo>
                  <a:lnTo>
                    <a:pt x="143" y="200"/>
                  </a:lnTo>
                  <a:lnTo>
                    <a:pt x="84" y="192"/>
                  </a:lnTo>
                  <a:lnTo>
                    <a:pt x="50" y="208"/>
                  </a:lnTo>
                  <a:lnTo>
                    <a:pt x="8" y="200"/>
                  </a:lnTo>
                  <a:lnTo>
                    <a:pt x="0" y="240"/>
                  </a:lnTo>
                  <a:lnTo>
                    <a:pt x="25" y="256"/>
                  </a:lnTo>
                  <a:lnTo>
                    <a:pt x="42" y="272"/>
                  </a:lnTo>
                  <a:lnTo>
                    <a:pt x="84" y="264"/>
                  </a:lnTo>
                  <a:lnTo>
                    <a:pt x="92" y="304"/>
                  </a:lnTo>
                  <a:lnTo>
                    <a:pt x="101" y="280"/>
                  </a:lnTo>
                  <a:lnTo>
                    <a:pt x="135" y="288"/>
                  </a:lnTo>
                  <a:lnTo>
                    <a:pt x="168" y="256"/>
                  </a:lnTo>
                  <a:lnTo>
                    <a:pt x="244" y="248"/>
                  </a:lnTo>
                  <a:lnTo>
                    <a:pt x="261" y="272"/>
                  </a:lnTo>
                  <a:lnTo>
                    <a:pt x="379" y="304"/>
                  </a:lnTo>
                  <a:lnTo>
                    <a:pt x="379" y="312"/>
                  </a:lnTo>
                  <a:lnTo>
                    <a:pt x="413" y="304"/>
                  </a:lnTo>
                  <a:lnTo>
                    <a:pt x="472" y="30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65" name="Freeform 46"/>
            <p:cNvSpPr>
              <a:spLocks/>
            </p:cNvSpPr>
            <p:nvPr/>
          </p:nvSpPr>
          <p:spPr bwMode="auto">
            <a:xfrm>
              <a:off x="4498975" y="4378325"/>
              <a:ext cx="514350" cy="277813"/>
            </a:xfrm>
            <a:custGeom>
              <a:avLst/>
              <a:gdLst>
                <a:gd name="T0" fmla="*/ 2147483647 w 421"/>
                <a:gd name="T1" fmla="*/ 2147483647 h 232"/>
                <a:gd name="T2" fmla="*/ 2147483647 w 421"/>
                <a:gd name="T3" fmla="*/ 2147483647 h 232"/>
                <a:gd name="T4" fmla="*/ 2147483647 w 421"/>
                <a:gd name="T5" fmla="*/ 2147483647 h 232"/>
                <a:gd name="T6" fmla="*/ 2147483647 w 421"/>
                <a:gd name="T7" fmla="*/ 2147483647 h 232"/>
                <a:gd name="T8" fmla="*/ 2147483647 w 421"/>
                <a:gd name="T9" fmla="*/ 2147483647 h 232"/>
                <a:gd name="T10" fmla="*/ 2147483647 w 421"/>
                <a:gd name="T11" fmla="*/ 0 h 232"/>
                <a:gd name="T12" fmla="*/ 2147483647 w 421"/>
                <a:gd name="T13" fmla="*/ 2147483647 h 232"/>
                <a:gd name="T14" fmla="*/ 2147483647 w 421"/>
                <a:gd name="T15" fmla="*/ 2147483647 h 232"/>
                <a:gd name="T16" fmla="*/ 2147483647 w 421"/>
                <a:gd name="T17" fmla="*/ 2147483647 h 232"/>
                <a:gd name="T18" fmla="*/ 2147483647 w 421"/>
                <a:gd name="T19" fmla="*/ 2147483647 h 232"/>
                <a:gd name="T20" fmla="*/ 2147483647 w 421"/>
                <a:gd name="T21" fmla="*/ 2147483647 h 232"/>
                <a:gd name="T22" fmla="*/ 2147483647 w 421"/>
                <a:gd name="T23" fmla="*/ 2147483647 h 232"/>
                <a:gd name="T24" fmla="*/ 2147483647 w 421"/>
                <a:gd name="T25" fmla="*/ 2147483647 h 232"/>
                <a:gd name="T26" fmla="*/ 2147483647 w 421"/>
                <a:gd name="T27" fmla="*/ 2147483647 h 232"/>
                <a:gd name="T28" fmla="*/ 2147483647 w 421"/>
                <a:gd name="T29" fmla="*/ 2147483647 h 232"/>
                <a:gd name="T30" fmla="*/ 0 w 421"/>
                <a:gd name="T31" fmla="*/ 2147483647 h 232"/>
                <a:gd name="T32" fmla="*/ 2147483647 w 421"/>
                <a:gd name="T33" fmla="*/ 2147483647 h 232"/>
                <a:gd name="T34" fmla="*/ 2147483647 w 421"/>
                <a:gd name="T35" fmla="*/ 2147483647 h 232"/>
                <a:gd name="T36" fmla="*/ 2147483647 w 421"/>
                <a:gd name="T37" fmla="*/ 2147483647 h 232"/>
                <a:gd name="T38" fmla="*/ 2147483647 w 421"/>
                <a:gd name="T39" fmla="*/ 2147483647 h 232"/>
                <a:gd name="T40" fmla="*/ 2147483647 w 421"/>
                <a:gd name="T41" fmla="*/ 2147483647 h 232"/>
                <a:gd name="T42" fmla="*/ 2147483647 w 421"/>
                <a:gd name="T43" fmla="*/ 2147483647 h 232"/>
                <a:gd name="T44" fmla="*/ 2147483647 w 421"/>
                <a:gd name="T45" fmla="*/ 2147483647 h 232"/>
                <a:gd name="T46" fmla="*/ 2147483647 w 421"/>
                <a:gd name="T47" fmla="*/ 2147483647 h 232"/>
                <a:gd name="T48" fmla="*/ 2147483647 w 421"/>
                <a:gd name="T49" fmla="*/ 2147483647 h 232"/>
                <a:gd name="T50" fmla="*/ 2147483647 w 421"/>
                <a:gd name="T51" fmla="*/ 2147483647 h 232"/>
                <a:gd name="T52" fmla="*/ 2147483647 w 421"/>
                <a:gd name="T53" fmla="*/ 2147483647 h 232"/>
                <a:gd name="T54" fmla="*/ 2147483647 w 421"/>
                <a:gd name="T55" fmla="*/ 2147483647 h 232"/>
                <a:gd name="T56" fmla="*/ 2147483647 w 421"/>
                <a:gd name="T57" fmla="*/ 2147483647 h 232"/>
                <a:gd name="T58" fmla="*/ 2147483647 w 421"/>
                <a:gd name="T59" fmla="*/ 2147483647 h 2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21"/>
                <a:gd name="T91" fmla="*/ 0 h 232"/>
                <a:gd name="T92" fmla="*/ 421 w 421"/>
                <a:gd name="T93" fmla="*/ 232 h 23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21" h="232">
                  <a:moveTo>
                    <a:pt x="371" y="104"/>
                  </a:moveTo>
                  <a:lnTo>
                    <a:pt x="354" y="88"/>
                  </a:lnTo>
                  <a:lnTo>
                    <a:pt x="329" y="72"/>
                  </a:lnTo>
                  <a:lnTo>
                    <a:pt x="337" y="32"/>
                  </a:lnTo>
                  <a:lnTo>
                    <a:pt x="337" y="24"/>
                  </a:lnTo>
                  <a:lnTo>
                    <a:pt x="253" y="0"/>
                  </a:lnTo>
                  <a:lnTo>
                    <a:pt x="219" y="16"/>
                  </a:lnTo>
                  <a:lnTo>
                    <a:pt x="169" y="24"/>
                  </a:lnTo>
                  <a:lnTo>
                    <a:pt x="143" y="16"/>
                  </a:lnTo>
                  <a:lnTo>
                    <a:pt x="118" y="32"/>
                  </a:lnTo>
                  <a:lnTo>
                    <a:pt x="84" y="40"/>
                  </a:lnTo>
                  <a:lnTo>
                    <a:pt x="76" y="72"/>
                  </a:lnTo>
                  <a:lnTo>
                    <a:pt x="51" y="88"/>
                  </a:lnTo>
                  <a:lnTo>
                    <a:pt x="42" y="112"/>
                  </a:lnTo>
                  <a:lnTo>
                    <a:pt x="9" y="152"/>
                  </a:lnTo>
                  <a:lnTo>
                    <a:pt x="0" y="184"/>
                  </a:lnTo>
                  <a:lnTo>
                    <a:pt x="34" y="168"/>
                  </a:lnTo>
                  <a:lnTo>
                    <a:pt x="76" y="184"/>
                  </a:lnTo>
                  <a:lnTo>
                    <a:pt x="84" y="200"/>
                  </a:lnTo>
                  <a:lnTo>
                    <a:pt x="101" y="224"/>
                  </a:lnTo>
                  <a:lnTo>
                    <a:pt x="177" y="216"/>
                  </a:lnTo>
                  <a:lnTo>
                    <a:pt x="219" y="152"/>
                  </a:lnTo>
                  <a:lnTo>
                    <a:pt x="287" y="232"/>
                  </a:lnTo>
                  <a:lnTo>
                    <a:pt x="312" y="152"/>
                  </a:lnTo>
                  <a:lnTo>
                    <a:pt x="354" y="160"/>
                  </a:lnTo>
                  <a:lnTo>
                    <a:pt x="379" y="144"/>
                  </a:lnTo>
                  <a:lnTo>
                    <a:pt x="413" y="144"/>
                  </a:lnTo>
                  <a:lnTo>
                    <a:pt x="421" y="136"/>
                  </a:lnTo>
                  <a:lnTo>
                    <a:pt x="413" y="96"/>
                  </a:lnTo>
                  <a:lnTo>
                    <a:pt x="371" y="104"/>
                  </a:lnTo>
                  <a:close/>
                </a:path>
              </a:pathLst>
            </a:custGeom>
            <a:solidFill>
              <a:schemeClr val="bg1"/>
            </a:solidFill>
            <a:ln w="12700">
              <a:solidFill>
                <a:srgbClr val="000000"/>
              </a:solidFill>
              <a:round/>
              <a:headEnd/>
              <a:tailEnd/>
            </a:ln>
          </p:spPr>
          <p:txBody>
            <a:bodyPr/>
            <a:lstStyle/>
            <a:p>
              <a:endParaRPr lang="en-US"/>
            </a:p>
          </p:txBody>
        </p:sp>
        <p:sp>
          <p:nvSpPr>
            <p:cNvPr id="34866" name="Freeform 47"/>
            <p:cNvSpPr>
              <a:spLocks/>
            </p:cNvSpPr>
            <p:nvPr/>
          </p:nvSpPr>
          <p:spPr bwMode="auto">
            <a:xfrm>
              <a:off x="4900613" y="4176713"/>
              <a:ext cx="835025" cy="373063"/>
            </a:xfrm>
            <a:custGeom>
              <a:avLst/>
              <a:gdLst>
                <a:gd name="T0" fmla="*/ 2147483647 w 682"/>
                <a:gd name="T1" fmla="*/ 2147483647 h 312"/>
                <a:gd name="T2" fmla="*/ 2147483647 w 682"/>
                <a:gd name="T3" fmla="*/ 2147483647 h 312"/>
                <a:gd name="T4" fmla="*/ 2147483647 w 682"/>
                <a:gd name="T5" fmla="*/ 2147483647 h 312"/>
                <a:gd name="T6" fmla="*/ 2147483647 w 682"/>
                <a:gd name="T7" fmla="*/ 2147483647 h 312"/>
                <a:gd name="T8" fmla="*/ 2147483647 w 682"/>
                <a:gd name="T9" fmla="*/ 2147483647 h 312"/>
                <a:gd name="T10" fmla="*/ 2147483647 w 682"/>
                <a:gd name="T11" fmla="*/ 2147483647 h 312"/>
                <a:gd name="T12" fmla="*/ 2147483647 w 682"/>
                <a:gd name="T13" fmla="*/ 2147483647 h 312"/>
                <a:gd name="T14" fmla="*/ 2147483647 w 682"/>
                <a:gd name="T15" fmla="*/ 2147483647 h 312"/>
                <a:gd name="T16" fmla="*/ 2147483647 w 682"/>
                <a:gd name="T17" fmla="*/ 2147483647 h 312"/>
                <a:gd name="T18" fmla="*/ 2147483647 w 682"/>
                <a:gd name="T19" fmla="*/ 2147483647 h 312"/>
                <a:gd name="T20" fmla="*/ 2147483647 w 682"/>
                <a:gd name="T21" fmla="*/ 2147483647 h 312"/>
                <a:gd name="T22" fmla="*/ 2147483647 w 682"/>
                <a:gd name="T23" fmla="*/ 2147483647 h 312"/>
                <a:gd name="T24" fmla="*/ 2147483647 w 682"/>
                <a:gd name="T25" fmla="*/ 2147483647 h 312"/>
                <a:gd name="T26" fmla="*/ 2147483647 w 682"/>
                <a:gd name="T27" fmla="*/ 0 h 312"/>
                <a:gd name="T28" fmla="*/ 2147483647 w 682"/>
                <a:gd name="T29" fmla="*/ 2147483647 h 312"/>
                <a:gd name="T30" fmla="*/ 2147483647 w 682"/>
                <a:gd name="T31" fmla="*/ 2147483647 h 312"/>
                <a:gd name="T32" fmla="*/ 2147483647 w 682"/>
                <a:gd name="T33" fmla="*/ 2147483647 h 312"/>
                <a:gd name="T34" fmla="*/ 2147483647 w 682"/>
                <a:gd name="T35" fmla="*/ 2147483647 h 312"/>
                <a:gd name="T36" fmla="*/ 2147483647 w 682"/>
                <a:gd name="T37" fmla="*/ 2147483647 h 312"/>
                <a:gd name="T38" fmla="*/ 2147483647 w 682"/>
                <a:gd name="T39" fmla="*/ 2147483647 h 312"/>
                <a:gd name="T40" fmla="*/ 2147483647 w 682"/>
                <a:gd name="T41" fmla="*/ 2147483647 h 312"/>
                <a:gd name="T42" fmla="*/ 2147483647 w 682"/>
                <a:gd name="T43" fmla="*/ 2147483647 h 312"/>
                <a:gd name="T44" fmla="*/ 2147483647 w 682"/>
                <a:gd name="T45" fmla="*/ 2147483647 h 312"/>
                <a:gd name="T46" fmla="*/ 2147483647 w 682"/>
                <a:gd name="T47" fmla="*/ 2147483647 h 312"/>
                <a:gd name="T48" fmla="*/ 2147483647 w 682"/>
                <a:gd name="T49" fmla="*/ 2147483647 h 312"/>
                <a:gd name="T50" fmla="*/ 2147483647 w 682"/>
                <a:gd name="T51" fmla="*/ 2147483647 h 312"/>
                <a:gd name="T52" fmla="*/ 2147483647 w 682"/>
                <a:gd name="T53" fmla="*/ 2147483647 h 312"/>
                <a:gd name="T54" fmla="*/ 2147483647 w 682"/>
                <a:gd name="T55" fmla="*/ 2147483647 h 312"/>
                <a:gd name="T56" fmla="*/ 2147483647 w 682"/>
                <a:gd name="T57" fmla="*/ 2147483647 h 312"/>
                <a:gd name="T58" fmla="*/ 0 w 682"/>
                <a:gd name="T59" fmla="*/ 2147483647 h 312"/>
                <a:gd name="T60" fmla="*/ 2147483647 w 682"/>
                <a:gd name="T61" fmla="*/ 2147483647 h 312"/>
                <a:gd name="T62" fmla="*/ 2147483647 w 682"/>
                <a:gd name="T63" fmla="*/ 2147483647 h 312"/>
                <a:gd name="T64" fmla="*/ 2147483647 w 682"/>
                <a:gd name="T65" fmla="*/ 2147483647 h 312"/>
                <a:gd name="T66" fmla="*/ 2147483647 w 682"/>
                <a:gd name="T67" fmla="*/ 2147483647 h 312"/>
                <a:gd name="T68" fmla="*/ 2147483647 w 682"/>
                <a:gd name="T69" fmla="*/ 2147483647 h 312"/>
                <a:gd name="T70" fmla="*/ 2147483647 w 682"/>
                <a:gd name="T71" fmla="*/ 2147483647 h 312"/>
                <a:gd name="T72" fmla="*/ 2147483647 w 682"/>
                <a:gd name="T73" fmla="*/ 2147483647 h 312"/>
                <a:gd name="T74" fmla="*/ 2147483647 w 682"/>
                <a:gd name="T75" fmla="*/ 2147483647 h 312"/>
                <a:gd name="T76" fmla="*/ 2147483647 w 682"/>
                <a:gd name="T77" fmla="*/ 2147483647 h 312"/>
                <a:gd name="T78" fmla="*/ 2147483647 w 682"/>
                <a:gd name="T79" fmla="*/ 2147483647 h 312"/>
                <a:gd name="T80" fmla="*/ 2147483647 w 682"/>
                <a:gd name="T81" fmla="*/ 2147483647 h 312"/>
                <a:gd name="T82" fmla="*/ 2147483647 w 682"/>
                <a:gd name="T83" fmla="*/ 2147483647 h 312"/>
                <a:gd name="T84" fmla="*/ 2147483647 w 682"/>
                <a:gd name="T85" fmla="*/ 2147483647 h 3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2"/>
                <a:gd name="T130" fmla="*/ 0 h 312"/>
                <a:gd name="T131" fmla="*/ 682 w 682"/>
                <a:gd name="T132" fmla="*/ 312 h 3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2" h="312">
                  <a:moveTo>
                    <a:pt x="472" y="304"/>
                  </a:moveTo>
                  <a:lnTo>
                    <a:pt x="505" y="280"/>
                  </a:lnTo>
                  <a:lnTo>
                    <a:pt x="556" y="280"/>
                  </a:lnTo>
                  <a:lnTo>
                    <a:pt x="598" y="272"/>
                  </a:lnTo>
                  <a:lnTo>
                    <a:pt x="598" y="248"/>
                  </a:lnTo>
                  <a:lnTo>
                    <a:pt x="623" y="224"/>
                  </a:lnTo>
                  <a:lnTo>
                    <a:pt x="632" y="184"/>
                  </a:lnTo>
                  <a:lnTo>
                    <a:pt x="632" y="144"/>
                  </a:lnTo>
                  <a:lnTo>
                    <a:pt x="674" y="128"/>
                  </a:lnTo>
                  <a:lnTo>
                    <a:pt x="682" y="96"/>
                  </a:lnTo>
                  <a:lnTo>
                    <a:pt x="649" y="72"/>
                  </a:lnTo>
                  <a:lnTo>
                    <a:pt x="649" y="24"/>
                  </a:lnTo>
                  <a:lnTo>
                    <a:pt x="564" y="24"/>
                  </a:lnTo>
                  <a:lnTo>
                    <a:pt x="488" y="0"/>
                  </a:lnTo>
                  <a:lnTo>
                    <a:pt x="463" y="48"/>
                  </a:lnTo>
                  <a:lnTo>
                    <a:pt x="413" y="64"/>
                  </a:lnTo>
                  <a:lnTo>
                    <a:pt x="371" y="40"/>
                  </a:lnTo>
                  <a:lnTo>
                    <a:pt x="371" y="64"/>
                  </a:lnTo>
                  <a:lnTo>
                    <a:pt x="337" y="64"/>
                  </a:lnTo>
                  <a:lnTo>
                    <a:pt x="328" y="96"/>
                  </a:lnTo>
                  <a:lnTo>
                    <a:pt x="295" y="120"/>
                  </a:lnTo>
                  <a:lnTo>
                    <a:pt x="312" y="152"/>
                  </a:lnTo>
                  <a:lnTo>
                    <a:pt x="312" y="184"/>
                  </a:lnTo>
                  <a:lnTo>
                    <a:pt x="253" y="168"/>
                  </a:lnTo>
                  <a:lnTo>
                    <a:pt x="185" y="192"/>
                  </a:lnTo>
                  <a:lnTo>
                    <a:pt x="143" y="200"/>
                  </a:lnTo>
                  <a:lnTo>
                    <a:pt x="84" y="192"/>
                  </a:lnTo>
                  <a:lnTo>
                    <a:pt x="50" y="208"/>
                  </a:lnTo>
                  <a:lnTo>
                    <a:pt x="8" y="200"/>
                  </a:lnTo>
                  <a:lnTo>
                    <a:pt x="0" y="240"/>
                  </a:lnTo>
                  <a:lnTo>
                    <a:pt x="25" y="256"/>
                  </a:lnTo>
                  <a:lnTo>
                    <a:pt x="42" y="272"/>
                  </a:lnTo>
                  <a:lnTo>
                    <a:pt x="84" y="264"/>
                  </a:lnTo>
                  <a:lnTo>
                    <a:pt x="92" y="304"/>
                  </a:lnTo>
                  <a:lnTo>
                    <a:pt x="101" y="280"/>
                  </a:lnTo>
                  <a:lnTo>
                    <a:pt x="135" y="288"/>
                  </a:lnTo>
                  <a:lnTo>
                    <a:pt x="168" y="256"/>
                  </a:lnTo>
                  <a:lnTo>
                    <a:pt x="244" y="248"/>
                  </a:lnTo>
                  <a:lnTo>
                    <a:pt x="261" y="272"/>
                  </a:lnTo>
                  <a:lnTo>
                    <a:pt x="379" y="304"/>
                  </a:lnTo>
                  <a:lnTo>
                    <a:pt x="379" y="312"/>
                  </a:lnTo>
                  <a:lnTo>
                    <a:pt x="413" y="304"/>
                  </a:lnTo>
                  <a:lnTo>
                    <a:pt x="472" y="304"/>
                  </a:lnTo>
                  <a:close/>
                </a:path>
              </a:pathLst>
            </a:custGeom>
            <a:solidFill>
              <a:srgbClr val="003399"/>
            </a:solidFill>
            <a:ln w="12700" algn="ctr">
              <a:solidFill>
                <a:srgbClr val="000000"/>
              </a:solidFill>
              <a:round/>
              <a:headEnd/>
              <a:tailEnd/>
            </a:ln>
          </p:spPr>
          <p:txBody>
            <a:bodyPr/>
            <a:lstStyle/>
            <a:p>
              <a:endParaRPr lang="en-US"/>
            </a:p>
          </p:txBody>
        </p:sp>
        <p:sp>
          <p:nvSpPr>
            <p:cNvPr id="34867" name="Freeform 48"/>
            <p:cNvSpPr>
              <a:spLocks/>
            </p:cNvSpPr>
            <p:nvPr/>
          </p:nvSpPr>
          <p:spPr bwMode="auto">
            <a:xfrm>
              <a:off x="5168900" y="3879850"/>
              <a:ext cx="711200" cy="373063"/>
            </a:xfrm>
            <a:custGeom>
              <a:avLst/>
              <a:gdLst>
                <a:gd name="T0" fmla="*/ 2147483647 w 581"/>
                <a:gd name="T1" fmla="*/ 2147483647 h 312"/>
                <a:gd name="T2" fmla="*/ 2147483647 w 581"/>
                <a:gd name="T3" fmla="*/ 2147483647 h 312"/>
                <a:gd name="T4" fmla="*/ 2147483647 w 581"/>
                <a:gd name="T5" fmla="*/ 2147483647 h 312"/>
                <a:gd name="T6" fmla="*/ 2147483647 w 581"/>
                <a:gd name="T7" fmla="*/ 2147483647 h 312"/>
                <a:gd name="T8" fmla="*/ 2147483647 w 581"/>
                <a:gd name="T9" fmla="*/ 2147483647 h 312"/>
                <a:gd name="T10" fmla="*/ 2147483647 w 581"/>
                <a:gd name="T11" fmla="*/ 2147483647 h 312"/>
                <a:gd name="T12" fmla="*/ 2147483647 w 581"/>
                <a:gd name="T13" fmla="*/ 2147483647 h 312"/>
                <a:gd name="T14" fmla="*/ 2147483647 w 581"/>
                <a:gd name="T15" fmla="*/ 2147483647 h 312"/>
                <a:gd name="T16" fmla="*/ 2147483647 w 581"/>
                <a:gd name="T17" fmla="*/ 2147483647 h 312"/>
                <a:gd name="T18" fmla="*/ 2147483647 w 581"/>
                <a:gd name="T19" fmla="*/ 2147483647 h 312"/>
                <a:gd name="T20" fmla="*/ 2147483647 w 581"/>
                <a:gd name="T21" fmla="*/ 2147483647 h 312"/>
                <a:gd name="T22" fmla="*/ 2147483647 w 581"/>
                <a:gd name="T23" fmla="*/ 2147483647 h 312"/>
                <a:gd name="T24" fmla="*/ 2147483647 w 581"/>
                <a:gd name="T25" fmla="*/ 2147483647 h 312"/>
                <a:gd name="T26" fmla="*/ 2147483647 w 581"/>
                <a:gd name="T27" fmla="*/ 2147483647 h 312"/>
                <a:gd name="T28" fmla="*/ 2147483647 w 581"/>
                <a:gd name="T29" fmla="*/ 2147483647 h 312"/>
                <a:gd name="T30" fmla="*/ 2147483647 w 581"/>
                <a:gd name="T31" fmla="*/ 0 h 312"/>
                <a:gd name="T32" fmla="*/ 2147483647 w 581"/>
                <a:gd name="T33" fmla="*/ 2147483647 h 312"/>
                <a:gd name="T34" fmla="*/ 2147483647 w 581"/>
                <a:gd name="T35" fmla="*/ 2147483647 h 312"/>
                <a:gd name="T36" fmla="*/ 2147483647 w 581"/>
                <a:gd name="T37" fmla="*/ 2147483647 h 312"/>
                <a:gd name="T38" fmla="*/ 2147483647 w 581"/>
                <a:gd name="T39" fmla="*/ 2147483647 h 312"/>
                <a:gd name="T40" fmla="*/ 2147483647 w 581"/>
                <a:gd name="T41" fmla="*/ 2147483647 h 312"/>
                <a:gd name="T42" fmla="*/ 2147483647 w 581"/>
                <a:gd name="T43" fmla="*/ 2147483647 h 312"/>
                <a:gd name="T44" fmla="*/ 2147483647 w 581"/>
                <a:gd name="T45" fmla="*/ 2147483647 h 312"/>
                <a:gd name="T46" fmla="*/ 0 w 581"/>
                <a:gd name="T47" fmla="*/ 2147483647 h 312"/>
                <a:gd name="T48" fmla="*/ 2147483647 w 581"/>
                <a:gd name="T49" fmla="*/ 2147483647 h 312"/>
                <a:gd name="T50" fmla="*/ 2147483647 w 581"/>
                <a:gd name="T51" fmla="*/ 2147483647 h 312"/>
                <a:gd name="T52" fmla="*/ 2147483647 w 581"/>
                <a:gd name="T53" fmla="*/ 2147483647 h 312"/>
                <a:gd name="T54" fmla="*/ 2147483647 w 581"/>
                <a:gd name="T55" fmla="*/ 2147483647 h 312"/>
                <a:gd name="T56" fmla="*/ 2147483647 w 581"/>
                <a:gd name="T57" fmla="*/ 2147483647 h 312"/>
                <a:gd name="T58" fmla="*/ 2147483647 w 581"/>
                <a:gd name="T59" fmla="*/ 2147483647 h 312"/>
                <a:gd name="T60" fmla="*/ 2147483647 w 581"/>
                <a:gd name="T61" fmla="*/ 2147483647 h 312"/>
                <a:gd name="T62" fmla="*/ 2147483647 w 581"/>
                <a:gd name="T63" fmla="*/ 2147483647 h 312"/>
                <a:gd name="T64" fmla="*/ 2147483647 w 581"/>
                <a:gd name="T65" fmla="*/ 2147483647 h 312"/>
                <a:gd name="T66" fmla="*/ 2147483647 w 581"/>
                <a:gd name="T67" fmla="*/ 2147483647 h 312"/>
                <a:gd name="T68" fmla="*/ 2147483647 w 581"/>
                <a:gd name="T69" fmla="*/ 2147483647 h 312"/>
                <a:gd name="T70" fmla="*/ 2147483647 w 581"/>
                <a:gd name="T71" fmla="*/ 2147483647 h 312"/>
                <a:gd name="T72" fmla="*/ 2147483647 w 581"/>
                <a:gd name="T73" fmla="*/ 2147483647 h 3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81"/>
                <a:gd name="T112" fmla="*/ 0 h 312"/>
                <a:gd name="T113" fmla="*/ 581 w 581"/>
                <a:gd name="T114" fmla="*/ 312 h 3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81" h="312">
                  <a:moveTo>
                    <a:pt x="497" y="248"/>
                  </a:moveTo>
                  <a:lnTo>
                    <a:pt x="531" y="200"/>
                  </a:lnTo>
                  <a:lnTo>
                    <a:pt x="556" y="176"/>
                  </a:lnTo>
                  <a:lnTo>
                    <a:pt x="581" y="152"/>
                  </a:lnTo>
                  <a:lnTo>
                    <a:pt x="564" y="120"/>
                  </a:lnTo>
                  <a:lnTo>
                    <a:pt x="522" y="112"/>
                  </a:lnTo>
                  <a:lnTo>
                    <a:pt x="480" y="104"/>
                  </a:lnTo>
                  <a:lnTo>
                    <a:pt x="463" y="80"/>
                  </a:lnTo>
                  <a:lnTo>
                    <a:pt x="413" y="64"/>
                  </a:lnTo>
                  <a:lnTo>
                    <a:pt x="413" y="88"/>
                  </a:lnTo>
                  <a:lnTo>
                    <a:pt x="387" y="104"/>
                  </a:lnTo>
                  <a:lnTo>
                    <a:pt x="345" y="72"/>
                  </a:lnTo>
                  <a:lnTo>
                    <a:pt x="354" y="40"/>
                  </a:lnTo>
                  <a:lnTo>
                    <a:pt x="312" y="40"/>
                  </a:lnTo>
                  <a:lnTo>
                    <a:pt x="269" y="24"/>
                  </a:lnTo>
                  <a:lnTo>
                    <a:pt x="227" y="0"/>
                  </a:lnTo>
                  <a:lnTo>
                    <a:pt x="227" y="24"/>
                  </a:lnTo>
                  <a:lnTo>
                    <a:pt x="202" y="8"/>
                  </a:lnTo>
                  <a:lnTo>
                    <a:pt x="168" y="8"/>
                  </a:lnTo>
                  <a:lnTo>
                    <a:pt x="160" y="40"/>
                  </a:lnTo>
                  <a:lnTo>
                    <a:pt x="118" y="56"/>
                  </a:lnTo>
                  <a:lnTo>
                    <a:pt x="76" y="80"/>
                  </a:lnTo>
                  <a:lnTo>
                    <a:pt x="34" y="88"/>
                  </a:lnTo>
                  <a:lnTo>
                    <a:pt x="0" y="112"/>
                  </a:lnTo>
                  <a:lnTo>
                    <a:pt x="34" y="152"/>
                  </a:lnTo>
                  <a:lnTo>
                    <a:pt x="25" y="176"/>
                  </a:lnTo>
                  <a:lnTo>
                    <a:pt x="84" y="224"/>
                  </a:lnTo>
                  <a:lnTo>
                    <a:pt x="160" y="280"/>
                  </a:lnTo>
                  <a:lnTo>
                    <a:pt x="152" y="288"/>
                  </a:lnTo>
                  <a:lnTo>
                    <a:pt x="194" y="312"/>
                  </a:lnTo>
                  <a:lnTo>
                    <a:pt x="244" y="296"/>
                  </a:lnTo>
                  <a:lnTo>
                    <a:pt x="269" y="248"/>
                  </a:lnTo>
                  <a:lnTo>
                    <a:pt x="345" y="272"/>
                  </a:lnTo>
                  <a:lnTo>
                    <a:pt x="430" y="272"/>
                  </a:lnTo>
                  <a:lnTo>
                    <a:pt x="430" y="280"/>
                  </a:lnTo>
                  <a:lnTo>
                    <a:pt x="455" y="248"/>
                  </a:lnTo>
                  <a:lnTo>
                    <a:pt x="497" y="248"/>
                  </a:lnTo>
                  <a:close/>
                </a:path>
              </a:pathLst>
            </a:custGeom>
            <a:solidFill>
              <a:schemeClr val="bg1"/>
            </a:solidFill>
            <a:ln w="12700">
              <a:solidFill>
                <a:srgbClr val="000000"/>
              </a:solidFill>
              <a:round/>
              <a:headEnd/>
              <a:tailEnd/>
            </a:ln>
          </p:spPr>
          <p:txBody>
            <a:bodyPr/>
            <a:lstStyle/>
            <a:p>
              <a:endParaRPr lang="en-US"/>
            </a:p>
          </p:txBody>
        </p:sp>
        <p:sp>
          <p:nvSpPr>
            <p:cNvPr id="34868" name="Freeform 49"/>
            <p:cNvSpPr>
              <a:spLocks/>
            </p:cNvSpPr>
            <p:nvPr/>
          </p:nvSpPr>
          <p:spPr bwMode="auto">
            <a:xfrm>
              <a:off x="5354638" y="4464050"/>
              <a:ext cx="339725" cy="239713"/>
            </a:xfrm>
            <a:custGeom>
              <a:avLst/>
              <a:gdLst>
                <a:gd name="T0" fmla="*/ 2147483647 w 278"/>
                <a:gd name="T1" fmla="*/ 2147483647 h 200"/>
                <a:gd name="T2" fmla="*/ 2147483647 w 278"/>
                <a:gd name="T3" fmla="*/ 2147483647 h 200"/>
                <a:gd name="T4" fmla="*/ 2147483647 w 278"/>
                <a:gd name="T5" fmla="*/ 2147483647 h 200"/>
                <a:gd name="T6" fmla="*/ 2147483647 w 278"/>
                <a:gd name="T7" fmla="*/ 2147483647 h 200"/>
                <a:gd name="T8" fmla="*/ 2147483647 w 278"/>
                <a:gd name="T9" fmla="*/ 2147483647 h 200"/>
                <a:gd name="T10" fmla="*/ 2147483647 w 278"/>
                <a:gd name="T11" fmla="*/ 2147483647 h 200"/>
                <a:gd name="T12" fmla="*/ 2147483647 w 278"/>
                <a:gd name="T13" fmla="*/ 2147483647 h 200"/>
                <a:gd name="T14" fmla="*/ 2147483647 w 278"/>
                <a:gd name="T15" fmla="*/ 2147483647 h 200"/>
                <a:gd name="T16" fmla="*/ 2147483647 w 278"/>
                <a:gd name="T17" fmla="*/ 2147483647 h 200"/>
                <a:gd name="T18" fmla="*/ 2147483647 w 278"/>
                <a:gd name="T19" fmla="*/ 0 h 200"/>
                <a:gd name="T20" fmla="*/ 2147483647 w 278"/>
                <a:gd name="T21" fmla="*/ 2147483647 h 200"/>
                <a:gd name="T22" fmla="*/ 2147483647 w 278"/>
                <a:gd name="T23" fmla="*/ 2147483647 h 200"/>
                <a:gd name="T24" fmla="*/ 2147483647 w 278"/>
                <a:gd name="T25" fmla="*/ 2147483647 h 200"/>
                <a:gd name="T26" fmla="*/ 2147483647 w 278"/>
                <a:gd name="T27" fmla="*/ 2147483647 h 200"/>
                <a:gd name="T28" fmla="*/ 2147483647 w 278"/>
                <a:gd name="T29" fmla="*/ 2147483647 h 200"/>
                <a:gd name="T30" fmla="*/ 2147483647 w 278"/>
                <a:gd name="T31" fmla="*/ 2147483647 h 200"/>
                <a:gd name="T32" fmla="*/ 2147483647 w 278"/>
                <a:gd name="T33" fmla="*/ 2147483647 h 200"/>
                <a:gd name="T34" fmla="*/ 0 w 278"/>
                <a:gd name="T35" fmla="*/ 2147483647 h 200"/>
                <a:gd name="T36" fmla="*/ 2147483647 w 278"/>
                <a:gd name="T37" fmla="*/ 2147483647 h 200"/>
                <a:gd name="T38" fmla="*/ 0 w 278"/>
                <a:gd name="T39" fmla="*/ 2147483647 h 200"/>
                <a:gd name="T40" fmla="*/ 2147483647 w 278"/>
                <a:gd name="T41" fmla="*/ 2147483647 h 200"/>
                <a:gd name="T42" fmla="*/ 2147483647 w 278"/>
                <a:gd name="T43" fmla="*/ 2147483647 h 200"/>
                <a:gd name="T44" fmla="*/ 2147483647 w 278"/>
                <a:gd name="T45" fmla="*/ 2147483647 h 200"/>
                <a:gd name="T46" fmla="*/ 2147483647 w 278"/>
                <a:gd name="T47" fmla="*/ 2147483647 h 200"/>
                <a:gd name="T48" fmla="*/ 2147483647 w 278"/>
                <a:gd name="T49" fmla="*/ 2147483647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200"/>
                <a:gd name="T77" fmla="*/ 278 w 278"/>
                <a:gd name="T78" fmla="*/ 200 h 2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200">
                  <a:moveTo>
                    <a:pt x="50" y="192"/>
                  </a:moveTo>
                  <a:lnTo>
                    <a:pt x="92" y="160"/>
                  </a:lnTo>
                  <a:lnTo>
                    <a:pt x="117" y="176"/>
                  </a:lnTo>
                  <a:lnTo>
                    <a:pt x="151" y="184"/>
                  </a:lnTo>
                  <a:lnTo>
                    <a:pt x="168" y="152"/>
                  </a:lnTo>
                  <a:lnTo>
                    <a:pt x="202" y="144"/>
                  </a:lnTo>
                  <a:lnTo>
                    <a:pt x="202" y="104"/>
                  </a:lnTo>
                  <a:lnTo>
                    <a:pt x="235" y="64"/>
                  </a:lnTo>
                  <a:lnTo>
                    <a:pt x="278" y="48"/>
                  </a:lnTo>
                  <a:lnTo>
                    <a:pt x="235" y="0"/>
                  </a:lnTo>
                  <a:lnTo>
                    <a:pt x="227" y="8"/>
                  </a:lnTo>
                  <a:lnTo>
                    <a:pt x="227" y="32"/>
                  </a:lnTo>
                  <a:lnTo>
                    <a:pt x="185" y="40"/>
                  </a:lnTo>
                  <a:lnTo>
                    <a:pt x="134" y="40"/>
                  </a:lnTo>
                  <a:lnTo>
                    <a:pt x="101" y="64"/>
                  </a:lnTo>
                  <a:lnTo>
                    <a:pt x="42" y="64"/>
                  </a:lnTo>
                  <a:lnTo>
                    <a:pt x="8" y="72"/>
                  </a:lnTo>
                  <a:lnTo>
                    <a:pt x="0" y="96"/>
                  </a:lnTo>
                  <a:lnTo>
                    <a:pt x="8" y="152"/>
                  </a:lnTo>
                  <a:lnTo>
                    <a:pt x="0" y="160"/>
                  </a:lnTo>
                  <a:lnTo>
                    <a:pt x="25" y="152"/>
                  </a:lnTo>
                  <a:lnTo>
                    <a:pt x="8" y="176"/>
                  </a:lnTo>
                  <a:lnTo>
                    <a:pt x="8" y="200"/>
                  </a:lnTo>
                  <a:lnTo>
                    <a:pt x="16" y="200"/>
                  </a:lnTo>
                  <a:lnTo>
                    <a:pt x="50" y="19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69" name="Freeform 50"/>
            <p:cNvSpPr>
              <a:spLocks/>
            </p:cNvSpPr>
            <p:nvPr/>
          </p:nvSpPr>
          <p:spPr bwMode="auto">
            <a:xfrm>
              <a:off x="5364163" y="4530725"/>
              <a:ext cx="671513" cy="498475"/>
            </a:xfrm>
            <a:custGeom>
              <a:avLst/>
              <a:gdLst>
                <a:gd name="T0" fmla="*/ 2147483647 w 548"/>
                <a:gd name="T1" fmla="*/ 2147483647 h 416"/>
                <a:gd name="T2" fmla="*/ 2147483647 w 548"/>
                <a:gd name="T3" fmla="*/ 2147483647 h 416"/>
                <a:gd name="T4" fmla="*/ 2147483647 w 548"/>
                <a:gd name="T5" fmla="*/ 2147483647 h 416"/>
                <a:gd name="T6" fmla="*/ 2147483647 w 548"/>
                <a:gd name="T7" fmla="*/ 2147483647 h 416"/>
                <a:gd name="T8" fmla="*/ 2147483647 w 548"/>
                <a:gd name="T9" fmla="*/ 2147483647 h 416"/>
                <a:gd name="T10" fmla="*/ 2147483647 w 548"/>
                <a:gd name="T11" fmla="*/ 2147483647 h 416"/>
                <a:gd name="T12" fmla="*/ 2147483647 w 548"/>
                <a:gd name="T13" fmla="*/ 2147483647 h 416"/>
                <a:gd name="T14" fmla="*/ 2147483647 w 548"/>
                <a:gd name="T15" fmla="*/ 2147483647 h 416"/>
                <a:gd name="T16" fmla="*/ 2147483647 w 548"/>
                <a:gd name="T17" fmla="*/ 2147483647 h 416"/>
                <a:gd name="T18" fmla="*/ 2147483647 w 548"/>
                <a:gd name="T19" fmla="*/ 2147483647 h 416"/>
                <a:gd name="T20" fmla="*/ 2147483647 w 548"/>
                <a:gd name="T21" fmla="*/ 2147483647 h 416"/>
                <a:gd name="T22" fmla="*/ 2147483647 w 548"/>
                <a:gd name="T23" fmla="*/ 2147483647 h 416"/>
                <a:gd name="T24" fmla="*/ 2147483647 w 548"/>
                <a:gd name="T25" fmla="*/ 2147483647 h 416"/>
                <a:gd name="T26" fmla="*/ 2147483647 w 548"/>
                <a:gd name="T27" fmla="*/ 2147483647 h 416"/>
                <a:gd name="T28" fmla="*/ 2147483647 w 548"/>
                <a:gd name="T29" fmla="*/ 2147483647 h 416"/>
                <a:gd name="T30" fmla="*/ 2147483647 w 548"/>
                <a:gd name="T31" fmla="*/ 2147483647 h 416"/>
                <a:gd name="T32" fmla="*/ 2147483647 w 548"/>
                <a:gd name="T33" fmla="*/ 2147483647 h 416"/>
                <a:gd name="T34" fmla="*/ 2147483647 w 548"/>
                <a:gd name="T35" fmla="*/ 2147483647 h 416"/>
                <a:gd name="T36" fmla="*/ 2147483647 w 548"/>
                <a:gd name="T37" fmla="*/ 2147483647 h 416"/>
                <a:gd name="T38" fmla="*/ 2147483647 w 548"/>
                <a:gd name="T39" fmla="*/ 2147483647 h 416"/>
                <a:gd name="T40" fmla="*/ 2147483647 w 548"/>
                <a:gd name="T41" fmla="*/ 2147483647 h 416"/>
                <a:gd name="T42" fmla="*/ 2147483647 w 548"/>
                <a:gd name="T43" fmla="*/ 2147483647 h 416"/>
                <a:gd name="T44" fmla="*/ 2147483647 w 548"/>
                <a:gd name="T45" fmla="*/ 2147483647 h 416"/>
                <a:gd name="T46" fmla="*/ 2147483647 w 548"/>
                <a:gd name="T47" fmla="*/ 2147483647 h 416"/>
                <a:gd name="T48" fmla="*/ 2147483647 w 548"/>
                <a:gd name="T49" fmla="*/ 2147483647 h 416"/>
                <a:gd name="T50" fmla="*/ 2147483647 w 548"/>
                <a:gd name="T51" fmla="*/ 2147483647 h 416"/>
                <a:gd name="T52" fmla="*/ 2147483647 w 548"/>
                <a:gd name="T53" fmla="*/ 2147483647 h 416"/>
                <a:gd name="T54" fmla="*/ 2147483647 w 548"/>
                <a:gd name="T55" fmla="*/ 2147483647 h 416"/>
                <a:gd name="T56" fmla="*/ 2147483647 w 548"/>
                <a:gd name="T57" fmla="*/ 0 h 416"/>
                <a:gd name="T58" fmla="*/ 2147483647 w 548"/>
                <a:gd name="T59" fmla="*/ 2147483647 h 416"/>
                <a:gd name="T60" fmla="*/ 2147483647 w 548"/>
                <a:gd name="T61" fmla="*/ 2147483647 h 416"/>
                <a:gd name="T62" fmla="*/ 2147483647 w 548"/>
                <a:gd name="T63" fmla="*/ 2147483647 h 416"/>
                <a:gd name="T64" fmla="*/ 2147483647 w 548"/>
                <a:gd name="T65" fmla="*/ 2147483647 h 416"/>
                <a:gd name="T66" fmla="*/ 2147483647 w 548"/>
                <a:gd name="T67" fmla="*/ 2147483647 h 416"/>
                <a:gd name="T68" fmla="*/ 2147483647 w 548"/>
                <a:gd name="T69" fmla="*/ 2147483647 h 416"/>
                <a:gd name="T70" fmla="*/ 2147483647 w 548"/>
                <a:gd name="T71" fmla="*/ 2147483647 h 416"/>
                <a:gd name="T72" fmla="*/ 2147483647 w 548"/>
                <a:gd name="T73" fmla="*/ 2147483647 h 416"/>
                <a:gd name="T74" fmla="*/ 2147483647 w 548"/>
                <a:gd name="T75" fmla="*/ 2147483647 h 416"/>
                <a:gd name="T76" fmla="*/ 0 w 548"/>
                <a:gd name="T77" fmla="*/ 2147483647 h 416"/>
                <a:gd name="T78" fmla="*/ 0 w 548"/>
                <a:gd name="T79" fmla="*/ 2147483647 h 416"/>
                <a:gd name="T80" fmla="*/ 2147483647 w 548"/>
                <a:gd name="T81" fmla="*/ 2147483647 h 416"/>
                <a:gd name="T82" fmla="*/ 2147483647 w 548"/>
                <a:gd name="T83" fmla="*/ 2147483647 h 416"/>
                <a:gd name="T84" fmla="*/ 2147483647 w 548"/>
                <a:gd name="T85" fmla="*/ 2147483647 h 416"/>
                <a:gd name="T86" fmla="*/ 2147483647 w 548"/>
                <a:gd name="T87" fmla="*/ 2147483647 h 416"/>
                <a:gd name="T88" fmla="*/ 2147483647 w 548"/>
                <a:gd name="T89" fmla="*/ 2147483647 h 416"/>
                <a:gd name="T90" fmla="*/ 2147483647 w 548"/>
                <a:gd name="T91" fmla="*/ 2147483647 h 416"/>
                <a:gd name="T92" fmla="*/ 2147483647 w 548"/>
                <a:gd name="T93" fmla="*/ 2147483647 h 416"/>
                <a:gd name="T94" fmla="*/ 2147483647 w 548"/>
                <a:gd name="T95" fmla="*/ 2147483647 h 416"/>
                <a:gd name="T96" fmla="*/ 2147483647 w 548"/>
                <a:gd name="T97" fmla="*/ 2147483647 h 416"/>
                <a:gd name="T98" fmla="*/ 2147483647 w 548"/>
                <a:gd name="T99" fmla="*/ 2147483647 h 416"/>
                <a:gd name="T100" fmla="*/ 2147483647 w 548"/>
                <a:gd name="T101" fmla="*/ 2147483647 h 416"/>
                <a:gd name="T102" fmla="*/ 2147483647 w 548"/>
                <a:gd name="T103" fmla="*/ 2147483647 h 416"/>
                <a:gd name="T104" fmla="*/ 2147483647 w 548"/>
                <a:gd name="T105" fmla="*/ 2147483647 h 416"/>
                <a:gd name="T106" fmla="*/ 2147483647 w 548"/>
                <a:gd name="T107" fmla="*/ 2147483647 h 416"/>
                <a:gd name="T108" fmla="*/ 2147483647 w 548"/>
                <a:gd name="T109" fmla="*/ 2147483647 h 416"/>
                <a:gd name="T110" fmla="*/ 2147483647 w 548"/>
                <a:gd name="T111" fmla="*/ 2147483647 h 4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8"/>
                <a:gd name="T169" fmla="*/ 0 h 416"/>
                <a:gd name="T170" fmla="*/ 548 w 548"/>
                <a:gd name="T171" fmla="*/ 416 h 41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8" h="416">
                  <a:moveTo>
                    <a:pt x="388" y="360"/>
                  </a:moveTo>
                  <a:lnTo>
                    <a:pt x="379" y="344"/>
                  </a:lnTo>
                  <a:lnTo>
                    <a:pt x="345" y="328"/>
                  </a:lnTo>
                  <a:lnTo>
                    <a:pt x="320" y="296"/>
                  </a:lnTo>
                  <a:lnTo>
                    <a:pt x="270" y="264"/>
                  </a:lnTo>
                  <a:lnTo>
                    <a:pt x="236" y="216"/>
                  </a:lnTo>
                  <a:lnTo>
                    <a:pt x="202" y="200"/>
                  </a:lnTo>
                  <a:lnTo>
                    <a:pt x="219" y="152"/>
                  </a:lnTo>
                  <a:lnTo>
                    <a:pt x="236" y="152"/>
                  </a:lnTo>
                  <a:lnTo>
                    <a:pt x="270" y="168"/>
                  </a:lnTo>
                  <a:lnTo>
                    <a:pt x="278" y="144"/>
                  </a:lnTo>
                  <a:lnTo>
                    <a:pt x="312" y="136"/>
                  </a:lnTo>
                  <a:lnTo>
                    <a:pt x="354" y="144"/>
                  </a:lnTo>
                  <a:lnTo>
                    <a:pt x="404" y="152"/>
                  </a:lnTo>
                  <a:lnTo>
                    <a:pt x="438" y="144"/>
                  </a:lnTo>
                  <a:lnTo>
                    <a:pt x="472" y="152"/>
                  </a:lnTo>
                  <a:lnTo>
                    <a:pt x="522" y="160"/>
                  </a:lnTo>
                  <a:lnTo>
                    <a:pt x="522" y="128"/>
                  </a:lnTo>
                  <a:lnTo>
                    <a:pt x="548" y="120"/>
                  </a:lnTo>
                  <a:lnTo>
                    <a:pt x="522" y="112"/>
                  </a:lnTo>
                  <a:lnTo>
                    <a:pt x="497" y="80"/>
                  </a:lnTo>
                  <a:lnTo>
                    <a:pt x="480" y="48"/>
                  </a:lnTo>
                  <a:lnTo>
                    <a:pt x="421" y="72"/>
                  </a:lnTo>
                  <a:lnTo>
                    <a:pt x="388" y="72"/>
                  </a:lnTo>
                  <a:lnTo>
                    <a:pt x="379" y="48"/>
                  </a:lnTo>
                  <a:lnTo>
                    <a:pt x="345" y="56"/>
                  </a:lnTo>
                  <a:lnTo>
                    <a:pt x="320" y="40"/>
                  </a:lnTo>
                  <a:lnTo>
                    <a:pt x="295" y="16"/>
                  </a:lnTo>
                  <a:lnTo>
                    <a:pt x="261" y="0"/>
                  </a:lnTo>
                  <a:lnTo>
                    <a:pt x="227" y="8"/>
                  </a:lnTo>
                  <a:lnTo>
                    <a:pt x="194" y="48"/>
                  </a:lnTo>
                  <a:lnTo>
                    <a:pt x="194" y="88"/>
                  </a:lnTo>
                  <a:lnTo>
                    <a:pt x="160" y="96"/>
                  </a:lnTo>
                  <a:lnTo>
                    <a:pt x="143" y="128"/>
                  </a:lnTo>
                  <a:lnTo>
                    <a:pt x="109" y="120"/>
                  </a:lnTo>
                  <a:lnTo>
                    <a:pt x="84" y="104"/>
                  </a:lnTo>
                  <a:lnTo>
                    <a:pt x="42" y="136"/>
                  </a:lnTo>
                  <a:lnTo>
                    <a:pt x="8" y="144"/>
                  </a:lnTo>
                  <a:lnTo>
                    <a:pt x="0" y="144"/>
                  </a:lnTo>
                  <a:lnTo>
                    <a:pt x="0" y="152"/>
                  </a:lnTo>
                  <a:lnTo>
                    <a:pt x="34" y="216"/>
                  </a:lnTo>
                  <a:lnTo>
                    <a:pt x="84" y="152"/>
                  </a:lnTo>
                  <a:lnTo>
                    <a:pt x="84" y="216"/>
                  </a:lnTo>
                  <a:lnTo>
                    <a:pt x="126" y="192"/>
                  </a:lnTo>
                  <a:lnTo>
                    <a:pt x="126" y="240"/>
                  </a:lnTo>
                  <a:lnTo>
                    <a:pt x="177" y="264"/>
                  </a:lnTo>
                  <a:lnTo>
                    <a:pt x="160" y="272"/>
                  </a:lnTo>
                  <a:lnTo>
                    <a:pt x="219" y="312"/>
                  </a:lnTo>
                  <a:lnTo>
                    <a:pt x="227" y="336"/>
                  </a:lnTo>
                  <a:lnTo>
                    <a:pt x="253" y="352"/>
                  </a:lnTo>
                  <a:lnTo>
                    <a:pt x="312" y="360"/>
                  </a:lnTo>
                  <a:lnTo>
                    <a:pt x="371" y="384"/>
                  </a:lnTo>
                  <a:lnTo>
                    <a:pt x="312" y="392"/>
                  </a:lnTo>
                  <a:lnTo>
                    <a:pt x="413" y="416"/>
                  </a:lnTo>
                  <a:lnTo>
                    <a:pt x="413" y="384"/>
                  </a:lnTo>
                  <a:lnTo>
                    <a:pt x="388" y="36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70" name="Freeform 51"/>
            <p:cNvSpPr>
              <a:spLocks/>
            </p:cNvSpPr>
            <p:nvPr/>
          </p:nvSpPr>
          <p:spPr bwMode="auto">
            <a:xfrm>
              <a:off x="5354638" y="4464050"/>
              <a:ext cx="339725" cy="239713"/>
            </a:xfrm>
            <a:custGeom>
              <a:avLst/>
              <a:gdLst>
                <a:gd name="T0" fmla="*/ 2147483647 w 278"/>
                <a:gd name="T1" fmla="*/ 2147483647 h 200"/>
                <a:gd name="T2" fmla="*/ 2147483647 w 278"/>
                <a:gd name="T3" fmla="*/ 2147483647 h 200"/>
                <a:gd name="T4" fmla="*/ 2147483647 w 278"/>
                <a:gd name="T5" fmla="*/ 2147483647 h 200"/>
                <a:gd name="T6" fmla="*/ 2147483647 w 278"/>
                <a:gd name="T7" fmla="*/ 2147483647 h 200"/>
                <a:gd name="T8" fmla="*/ 2147483647 w 278"/>
                <a:gd name="T9" fmla="*/ 2147483647 h 200"/>
                <a:gd name="T10" fmla="*/ 2147483647 w 278"/>
                <a:gd name="T11" fmla="*/ 2147483647 h 200"/>
                <a:gd name="T12" fmla="*/ 2147483647 w 278"/>
                <a:gd name="T13" fmla="*/ 2147483647 h 200"/>
                <a:gd name="T14" fmla="*/ 2147483647 w 278"/>
                <a:gd name="T15" fmla="*/ 2147483647 h 200"/>
                <a:gd name="T16" fmla="*/ 2147483647 w 278"/>
                <a:gd name="T17" fmla="*/ 2147483647 h 200"/>
                <a:gd name="T18" fmla="*/ 2147483647 w 278"/>
                <a:gd name="T19" fmla="*/ 0 h 200"/>
                <a:gd name="T20" fmla="*/ 2147483647 w 278"/>
                <a:gd name="T21" fmla="*/ 2147483647 h 200"/>
                <a:gd name="T22" fmla="*/ 2147483647 w 278"/>
                <a:gd name="T23" fmla="*/ 2147483647 h 200"/>
                <a:gd name="T24" fmla="*/ 2147483647 w 278"/>
                <a:gd name="T25" fmla="*/ 2147483647 h 200"/>
                <a:gd name="T26" fmla="*/ 2147483647 w 278"/>
                <a:gd name="T27" fmla="*/ 2147483647 h 200"/>
                <a:gd name="T28" fmla="*/ 2147483647 w 278"/>
                <a:gd name="T29" fmla="*/ 2147483647 h 200"/>
                <a:gd name="T30" fmla="*/ 2147483647 w 278"/>
                <a:gd name="T31" fmla="*/ 2147483647 h 200"/>
                <a:gd name="T32" fmla="*/ 2147483647 w 278"/>
                <a:gd name="T33" fmla="*/ 2147483647 h 200"/>
                <a:gd name="T34" fmla="*/ 0 w 278"/>
                <a:gd name="T35" fmla="*/ 2147483647 h 200"/>
                <a:gd name="T36" fmla="*/ 2147483647 w 278"/>
                <a:gd name="T37" fmla="*/ 2147483647 h 200"/>
                <a:gd name="T38" fmla="*/ 0 w 278"/>
                <a:gd name="T39" fmla="*/ 2147483647 h 200"/>
                <a:gd name="T40" fmla="*/ 2147483647 w 278"/>
                <a:gd name="T41" fmla="*/ 2147483647 h 200"/>
                <a:gd name="T42" fmla="*/ 2147483647 w 278"/>
                <a:gd name="T43" fmla="*/ 2147483647 h 200"/>
                <a:gd name="T44" fmla="*/ 2147483647 w 278"/>
                <a:gd name="T45" fmla="*/ 2147483647 h 200"/>
                <a:gd name="T46" fmla="*/ 2147483647 w 278"/>
                <a:gd name="T47" fmla="*/ 2147483647 h 200"/>
                <a:gd name="T48" fmla="*/ 2147483647 w 278"/>
                <a:gd name="T49" fmla="*/ 2147483647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200"/>
                <a:gd name="T77" fmla="*/ 278 w 278"/>
                <a:gd name="T78" fmla="*/ 200 h 2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200">
                  <a:moveTo>
                    <a:pt x="50" y="192"/>
                  </a:moveTo>
                  <a:lnTo>
                    <a:pt x="92" y="160"/>
                  </a:lnTo>
                  <a:lnTo>
                    <a:pt x="117" y="176"/>
                  </a:lnTo>
                  <a:lnTo>
                    <a:pt x="151" y="184"/>
                  </a:lnTo>
                  <a:lnTo>
                    <a:pt x="168" y="152"/>
                  </a:lnTo>
                  <a:lnTo>
                    <a:pt x="202" y="144"/>
                  </a:lnTo>
                  <a:lnTo>
                    <a:pt x="202" y="104"/>
                  </a:lnTo>
                  <a:lnTo>
                    <a:pt x="235" y="64"/>
                  </a:lnTo>
                  <a:lnTo>
                    <a:pt x="278" y="48"/>
                  </a:lnTo>
                  <a:lnTo>
                    <a:pt x="235" y="0"/>
                  </a:lnTo>
                  <a:lnTo>
                    <a:pt x="227" y="8"/>
                  </a:lnTo>
                  <a:lnTo>
                    <a:pt x="227" y="32"/>
                  </a:lnTo>
                  <a:lnTo>
                    <a:pt x="185" y="40"/>
                  </a:lnTo>
                  <a:lnTo>
                    <a:pt x="134" y="40"/>
                  </a:lnTo>
                  <a:lnTo>
                    <a:pt x="101" y="64"/>
                  </a:lnTo>
                  <a:lnTo>
                    <a:pt x="42" y="64"/>
                  </a:lnTo>
                  <a:lnTo>
                    <a:pt x="8" y="72"/>
                  </a:lnTo>
                  <a:lnTo>
                    <a:pt x="0" y="96"/>
                  </a:lnTo>
                  <a:lnTo>
                    <a:pt x="8" y="152"/>
                  </a:lnTo>
                  <a:lnTo>
                    <a:pt x="0" y="160"/>
                  </a:lnTo>
                  <a:lnTo>
                    <a:pt x="25" y="152"/>
                  </a:lnTo>
                  <a:lnTo>
                    <a:pt x="8" y="176"/>
                  </a:lnTo>
                  <a:lnTo>
                    <a:pt x="8" y="200"/>
                  </a:lnTo>
                  <a:lnTo>
                    <a:pt x="16" y="200"/>
                  </a:lnTo>
                  <a:lnTo>
                    <a:pt x="50" y="192"/>
                  </a:lnTo>
                  <a:close/>
                </a:path>
              </a:pathLst>
            </a:custGeom>
            <a:solidFill>
              <a:schemeClr val="bg1"/>
            </a:solidFill>
            <a:ln w="12700">
              <a:solidFill>
                <a:srgbClr val="000000"/>
              </a:solidFill>
              <a:round/>
              <a:headEnd/>
              <a:tailEnd/>
            </a:ln>
          </p:spPr>
          <p:txBody>
            <a:bodyPr/>
            <a:lstStyle/>
            <a:p>
              <a:endParaRPr lang="en-US"/>
            </a:p>
          </p:txBody>
        </p:sp>
        <p:sp>
          <p:nvSpPr>
            <p:cNvPr id="34871" name="Freeform 52"/>
            <p:cNvSpPr>
              <a:spLocks/>
            </p:cNvSpPr>
            <p:nvPr/>
          </p:nvSpPr>
          <p:spPr bwMode="auto">
            <a:xfrm>
              <a:off x="5364163" y="4530725"/>
              <a:ext cx="671513" cy="498475"/>
            </a:xfrm>
            <a:custGeom>
              <a:avLst/>
              <a:gdLst>
                <a:gd name="T0" fmla="*/ 2147483647 w 548"/>
                <a:gd name="T1" fmla="*/ 2147483647 h 416"/>
                <a:gd name="T2" fmla="*/ 2147483647 w 548"/>
                <a:gd name="T3" fmla="*/ 2147483647 h 416"/>
                <a:gd name="T4" fmla="*/ 2147483647 w 548"/>
                <a:gd name="T5" fmla="*/ 2147483647 h 416"/>
                <a:gd name="T6" fmla="*/ 2147483647 w 548"/>
                <a:gd name="T7" fmla="*/ 2147483647 h 416"/>
                <a:gd name="T8" fmla="*/ 2147483647 w 548"/>
                <a:gd name="T9" fmla="*/ 2147483647 h 416"/>
                <a:gd name="T10" fmla="*/ 2147483647 w 548"/>
                <a:gd name="T11" fmla="*/ 2147483647 h 416"/>
                <a:gd name="T12" fmla="*/ 2147483647 w 548"/>
                <a:gd name="T13" fmla="*/ 2147483647 h 416"/>
                <a:gd name="T14" fmla="*/ 2147483647 w 548"/>
                <a:gd name="T15" fmla="*/ 2147483647 h 416"/>
                <a:gd name="T16" fmla="*/ 2147483647 w 548"/>
                <a:gd name="T17" fmla="*/ 2147483647 h 416"/>
                <a:gd name="T18" fmla="*/ 2147483647 w 548"/>
                <a:gd name="T19" fmla="*/ 2147483647 h 416"/>
                <a:gd name="T20" fmla="*/ 2147483647 w 548"/>
                <a:gd name="T21" fmla="*/ 2147483647 h 416"/>
                <a:gd name="T22" fmla="*/ 2147483647 w 548"/>
                <a:gd name="T23" fmla="*/ 2147483647 h 416"/>
                <a:gd name="T24" fmla="*/ 2147483647 w 548"/>
                <a:gd name="T25" fmla="*/ 2147483647 h 416"/>
                <a:gd name="T26" fmla="*/ 2147483647 w 548"/>
                <a:gd name="T27" fmla="*/ 2147483647 h 416"/>
                <a:gd name="T28" fmla="*/ 2147483647 w 548"/>
                <a:gd name="T29" fmla="*/ 2147483647 h 416"/>
                <a:gd name="T30" fmla="*/ 2147483647 w 548"/>
                <a:gd name="T31" fmla="*/ 2147483647 h 416"/>
                <a:gd name="T32" fmla="*/ 2147483647 w 548"/>
                <a:gd name="T33" fmla="*/ 2147483647 h 416"/>
                <a:gd name="T34" fmla="*/ 2147483647 w 548"/>
                <a:gd name="T35" fmla="*/ 2147483647 h 416"/>
                <a:gd name="T36" fmla="*/ 2147483647 w 548"/>
                <a:gd name="T37" fmla="*/ 2147483647 h 416"/>
                <a:gd name="T38" fmla="*/ 2147483647 w 548"/>
                <a:gd name="T39" fmla="*/ 2147483647 h 416"/>
                <a:gd name="T40" fmla="*/ 2147483647 w 548"/>
                <a:gd name="T41" fmla="*/ 2147483647 h 416"/>
                <a:gd name="T42" fmla="*/ 2147483647 w 548"/>
                <a:gd name="T43" fmla="*/ 2147483647 h 416"/>
                <a:gd name="T44" fmla="*/ 2147483647 w 548"/>
                <a:gd name="T45" fmla="*/ 2147483647 h 416"/>
                <a:gd name="T46" fmla="*/ 2147483647 w 548"/>
                <a:gd name="T47" fmla="*/ 2147483647 h 416"/>
                <a:gd name="T48" fmla="*/ 2147483647 w 548"/>
                <a:gd name="T49" fmla="*/ 2147483647 h 416"/>
                <a:gd name="T50" fmla="*/ 2147483647 w 548"/>
                <a:gd name="T51" fmla="*/ 2147483647 h 416"/>
                <a:gd name="T52" fmla="*/ 2147483647 w 548"/>
                <a:gd name="T53" fmla="*/ 2147483647 h 416"/>
                <a:gd name="T54" fmla="*/ 2147483647 w 548"/>
                <a:gd name="T55" fmla="*/ 2147483647 h 416"/>
                <a:gd name="T56" fmla="*/ 2147483647 w 548"/>
                <a:gd name="T57" fmla="*/ 0 h 416"/>
                <a:gd name="T58" fmla="*/ 2147483647 w 548"/>
                <a:gd name="T59" fmla="*/ 2147483647 h 416"/>
                <a:gd name="T60" fmla="*/ 2147483647 w 548"/>
                <a:gd name="T61" fmla="*/ 2147483647 h 416"/>
                <a:gd name="T62" fmla="*/ 2147483647 w 548"/>
                <a:gd name="T63" fmla="*/ 2147483647 h 416"/>
                <a:gd name="T64" fmla="*/ 2147483647 w 548"/>
                <a:gd name="T65" fmla="*/ 2147483647 h 416"/>
                <a:gd name="T66" fmla="*/ 2147483647 w 548"/>
                <a:gd name="T67" fmla="*/ 2147483647 h 416"/>
                <a:gd name="T68" fmla="*/ 2147483647 w 548"/>
                <a:gd name="T69" fmla="*/ 2147483647 h 416"/>
                <a:gd name="T70" fmla="*/ 2147483647 w 548"/>
                <a:gd name="T71" fmla="*/ 2147483647 h 416"/>
                <a:gd name="T72" fmla="*/ 2147483647 w 548"/>
                <a:gd name="T73" fmla="*/ 2147483647 h 416"/>
                <a:gd name="T74" fmla="*/ 2147483647 w 548"/>
                <a:gd name="T75" fmla="*/ 2147483647 h 416"/>
                <a:gd name="T76" fmla="*/ 0 w 548"/>
                <a:gd name="T77" fmla="*/ 2147483647 h 416"/>
                <a:gd name="T78" fmla="*/ 0 w 548"/>
                <a:gd name="T79" fmla="*/ 2147483647 h 416"/>
                <a:gd name="T80" fmla="*/ 2147483647 w 548"/>
                <a:gd name="T81" fmla="*/ 2147483647 h 416"/>
                <a:gd name="T82" fmla="*/ 2147483647 w 548"/>
                <a:gd name="T83" fmla="*/ 2147483647 h 416"/>
                <a:gd name="T84" fmla="*/ 2147483647 w 548"/>
                <a:gd name="T85" fmla="*/ 2147483647 h 416"/>
                <a:gd name="T86" fmla="*/ 2147483647 w 548"/>
                <a:gd name="T87" fmla="*/ 2147483647 h 416"/>
                <a:gd name="T88" fmla="*/ 2147483647 w 548"/>
                <a:gd name="T89" fmla="*/ 2147483647 h 416"/>
                <a:gd name="T90" fmla="*/ 2147483647 w 548"/>
                <a:gd name="T91" fmla="*/ 2147483647 h 416"/>
                <a:gd name="T92" fmla="*/ 2147483647 w 548"/>
                <a:gd name="T93" fmla="*/ 2147483647 h 416"/>
                <a:gd name="T94" fmla="*/ 2147483647 w 548"/>
                <a:gd name="T95" fmla="*/ 2147483647 h 416"/>
                <a:gd name="T96" fmla="*/ 2147483647 w 548"/>
                <a:gd name="T97" fmla="*/ 2147483647 h 416"/>
                <a:gd name="T98" fmla="*/ 2147483647 w 548"/>
                <a:gd name="T99" fmla="*/ 2147483647 h 416"/>
                <a:gd name="T100" fmla="*/ 2147483647 w 548"/>
                <a:gd name="T101" fmla="*/ 2147483647 h 416"/>
                <a:gd name="T102" fmla="*/ 2147483647 w 548"/>
                <a:gd name="T103" fmla="*/ 2147483647 h 416"/>
                <a:gd name="T104" fmla="*/ 2147483647 w 548"/>
                <a:gd name="T105" fmla="*/ 2147483647 h 416"/>
                <a:gd name="T106" fmla="*/ 2147483647 w 548"/>
                <a:gd name="T107" fmla="*/ 2147483647 h 416"/>
                <a:gd name="T108" fmla="*/ 2147483647 w 548"/>
                <a:gd name="T109" fmla="*/ 2147483647 h 416"/>
                <a:gd name="T110" fmla="*/ 2147483647 w 548"/>
                <a:gd name="T111" fmla="*/ 2147483647 h 4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8"/>
                <a:gd name="T169" fmla="*/ 0 h 416"/>
                <a:gd name="T170" fmla="*/ 548 w 548"/>
                <a:gd name="T171" fmla="*/ 416 h 41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8" h="416">
                  <a:moveTo>
                    <a:pt x="388" y="360"/>
                  </a:moveTo>
                  <a:lnTo>
                    <a:pt x="379" y="344"/>
                  </a:lnTo>
                  <a:lnTo>
                    <a:pt x="345" y="328"/>
                  </a:lnTo>
                  <a:lnTo>
                    <a:pt x="320" y="296"/>
                  </a:lnTo>
                  <a:lnTo>
                    <a:pt x="270" y="264"/>
                  </a:lnTo>
                  <a:lnTo>
                    <a:pt x="236" y="216"/>
                  </a:lnTo>
                  <a:lnTo>
                    <a:pt x="202" y="200"/>
                  </a:lnTo>
                  <a:lnTo>
                    <a:pt x="219" y="152"/>
                  </a:lnTo>
                  <a:lnTo>
                    <a:pt x="236" y="152"/>
                  </a:lnTo>
                  <a:lnTo>
                    <a:pt x="270" y="168"/>
                  </a:lnTo>
                  <a:lnTo>
                    <a:pt x="278" y="144"/>
                  </a:lnTo>
                  <a:lnTo>
                    <a:pt x="312" y="136"/>
                  </a:lnTo>
                  <a:lnTo>
                    <a:pt x="354" y="144"/>
                  </a:lnTo>
                  <a:lnTo>
                    <a:pt x="404" y="152"/>
                  </a:lnTo>
                  <a:lnTo>
                    <a:pt x="438" y="144"/>
                  </a:lnTo>
                  <a:lnTo>
                    <a:pt x="472" y="152"/>
                  </a:lnTo>
                  <a:lnTo>
                    <a:pt x="522" y="160"/>
                  </a:lnTo>
                  <a:lnTo>
                    <a:pt x="522" y="128"/>
                  </a:lnTo>
                  <a:lnTo>
                    <a:pt x="548" y="120"/>
                  </a:lnTo>
                  <a:lnTo>
                    <a:pt x="522" y="112"/>
                  </a:lnTo>
                  <a:lnTo>
                    <a:pt x="497" y="80"/>
                  </a:lnTo>
                  <a:lnTo>
                    <a:pt x="480" y="48"/>
                  </a:lnTo>
                  <a:lnTo>
                    <a:pt x="421" y="72"/>
                  </a:lnTo>
                  <a:lnTo>
                    <a:pt x="388" y="72"/>
                  </a:lnTo>
                  <a:lnTo>
                    <a:pt x="379" y="48"/>
                  </a:lnTo>
                  <a:lnTo>
                    <a:pt x="345" y="56"/>
                  </a:lnTo>
                  <a:lnTo>
                    <a:pt x="320" y="40"/>
                  </a:lnTo>
                  <a:lnTo>
                    <a:pt x="295" y="16"/>
                  </a:lnTo>
                  <a:lnTo>
                    <a:pt x="261" y="0"/>
                  </a:lnTo>
                  <a:lnTo>
                    <a:pt x="227" y="8"/>
                  </a:lnTo>
                  <a:lnTo>
                    <a:pt x="194" y="48"/>
                  </a:lnTo>
                  <a:lnTo>
                    <a:pt x="194" y="88"/>
                  </a:lnTo>
                  <a:lnTo>
                    <a:pt x="160" y="96"/>
                  </a:lnTo>
                  <a:lnTo>
                    <a:pt x="143" y="128"/>
                  </a:lnTo>
                  <a:lnTo>
                    <a:pt x="109" y="120"/>
                  </a:lnTo>
                  <a:lnTo>
                    <a:pt x="84" y="104"/>
                  </a:lnTo>
                  <a:lnTo>
                    <a:pt x="42" y="136"/>
                  </a:lnTo>
                  <a:lnTo>
                    <a:pt x="8" y="144"/>
                  </a:lnTo>
                  <a:lnTo>
                    <a:pt x="0" y="144"/>
                  </a:lnTo>
                  <a:lnTo>
                    <a:pt x="0" y="152"/>
                  </a:lnTo>
                  <a:lnTo>
                    <a:pt x="34" y="216"/>
                  </a:lnTo>
                  <a:lnTo>
                    <a:pt x="84" y="152"/>
                  </a:lnTo>
                  <a:lnTo>
                    <a:pt x="84" y="216"/>
                  </a:lnTo>
                  <a:lnTo>
                    <a:pt x="126" y="192"/>
                  </a:lnTo>
                  <a:lnTo>
                    <a:pt x="126" y="240"/>
                  </a:lnTo>
                  <a:lnTo>
                    <a:pt x="177" y="264"/>
                  </a:lnTo>
                  <a:lnTo>
                    <a:pt x="160" y="272"/>
                  </a:lnTo>
                  <a:lnTo>
                    <a:pt x="219" y="312"/>
                  </a:lnTo>
                  <a:lnTo>
                    <a:pt x="227" y="336"/>
                  </a:lnTo>
                  <a:lnTo>
                    <a:pt x="253" y="352"/>
                  </a:lnTo>
                  <a:lnTo>
                    <a:pt x="312" y="360"/>
                  </a:lnTo>
                  <a:lnTo>
                    <a:pt x="371" y="384"/>
                  </a:lnTo>
                  <a:lnTo>
                    <a:pt x="312" y="392"/>
                  </a:lnTo>
                  <a:lnTo>
                    <a:pt x="413" y="416"/>
                  </a:lnTo>
                  <a:lnTo>
                    <a:pt x="413" y="384"/>
                  </a:lnTo>
                  <a:lnTo>
                    <a:pt x="388" y="360"/>
                  </a:lnTo>
                  <a:close/>
                </a:path>
              </a:pathLst>
            </a:custGeom>
            <a:solidFill>
              <a:schemeClr val="bg1"/>
            </a:solidFill>
            <a:ln w="12700">
              <a:solidFill>
                <a:srgbClr val="000000"/>
              </a:solidFill>
              <a:round/>
              <a:headEnd/>
              <a:tailEnd/>
            </a:ln>
          </p:spPr>
          <p:txBody>
            <a:bodyPr/>
            <a:lstStyle/>
            <a:p>
              <a:endParaRPr lang="en-US"/>
            </a:p>
          </p:txBody>
        </p:sp>
        <p:sp>
          <p:nvSpPr>
            <p:cNvPr id="34872" name="Freeform 53"/>
            <p:cNvSpPr>
              <a:spLocks/>
            </p:cNvSpPr>
            <p:nvPr/>
          </p:nvSpPr>
          <p:spPr bwMode="auto">
            <a:xfrm>
              <a:off x="5611813" y="4694238"/>
              <a:ext cx="474663" cy="382588"/>
            </a:xfrm>
            <a:custGeom>
              <a:avLst/>
              <a:gdLst>
                <a:gd name="T0" fmla="*/ 2147483647 w 388"/>
                <a:gd name="T1" fmla="*/ 2147483647 h 320"/>
                <a:gd name="T2" fmla="*/ 2147483647 w 388"/>
                <a:gd name="T3" fmla="*/ 2147483647 h 320"/>
                <a:gd name="T4" fmla="*/ 2147483647 w 388"/>
                <a:gd name="T5" fmla="*/ 2147483647 h 320"/>
                <a:gd name="T6" fmla="*/ 2147483647 w 388"/>
                <a:gd name="T7" fmla="*/ 2147483647 h 320"/>
                <a:gd name="T8" fmla="*/ 2147483647 w 388"/>
                <a:gd name="T9" fmla="*/ 2147483647 h 320"/>
                <a:gd name="T10" fmla="*/ 2147483647 w 388"/>
                <a:gd name="T11" fmla="*/ 2147483647 h 320"/>
                <a:gd name="T12" fmla="*/ 2147483647 w 388"/>
                <a:gd name="T13" fmla="*/ 2147483647 h 320"/>
                <a:gd name="T14" fmla="*/ 2147483647 w 388"/>
                <a:gd name="T15" fmla="*/ 2147483647 h 320"/>
                <a:gd name="T16" fmla="*/ 2147483647 w 388"/>
                <a:gd name="T17" fmla="*/ 2147483647 h 320"/>
                <a:gd name="T18" fmla="*/ 2147483647 w 388"/>
                <a:gd name="T19" fmla="*/ 2147483647 h 320"/>
                <a:gd name="T20" fmla="*/ 2147483647 w 388"/>
                <a:gd name="T21" fmla="*/ 2147483647 h 320"/>
                <a:gd name="T22" fmla="*/ 2147483647 w 388"/>
                <a:gd name="T23" fmla="*/ 2147483647 h 320"/>
                <a:gd name="T24" fmla="*/ 2147483647 w 388"/>
                <a:gd name="T25" fmla="*/ 2147483647 h 320"/>
                <a:gd name="T26" fmla="*/ 2147483647 w 388"/>
                <a:gd name="T27" fmla="*/ 2147483647 h 320"/>
                <a:gd name="T28" fmla="*/ 2147483647 w 388"/>
                <a:gd name="T29" fmla="*/ 2147483647 h 320"/>
                <a:gd name="T30" fmla="*/ 2147483647 w 388"/>
                <a:gd name="T31" fmla="*/ 2147483647 h 320"/>
                <a:gd name="T32" fmla="*/ 2147483647 w 388"/>
                <a:gd name="T33" fmla="*/ 2147483647 h 320"/>
                <a:gd name="T34" fmla="*/ 2147483647 w 388"/>
                <a:gd name="T35" fmla="*/ 0 h 320"/>
                <a:gd name="T36" fmla="*/ 2147483647 w 388"/>
                <a:gd name="T37" fmla="*/ 2147483647 h 320"/>
                <a:gd name="T38" fmla="*/ 2147483647 w 388"/>
                <a:gd name="T39" fmla="*/ 2147483647 h 320"/>
                <a:gd name="T40" fmla="*/ 2147483647 w 388"/>
                <a:gd name="T41" fmla="*/ 2147483647 h 320"/>
                <a:gd name="T42" fmla="*/ 2147483647 w 388"/>
                <a:gd name="T43" fmla="*/ 2147483647 h 320"/>
                <a:gd name="T44" fmla="*/ 0 w 388"/>
                <a:gd name="T45" fmla="*/ 2147483647 h 320"/>
                <a:gd name="T46" fmla="*/ 2147483647 w 388"/>
                <a:gd name="T47" fmla="*/ 2147483647 h 320"/>
                <a:gd name="T48" fmla="*/ 2147483647 w 388"/>
                <a:gd name="T49" fmla="*/ 2147483647 h 320"/>
                <a:gd name="T50" fmla="*/ 2147483647 w 388"/>
                <a:gd name="T51" fmla="*/ 2147483647 h 320"/>
                <a:gd name="T52" fmla="*/ 2147483647 w 388"/>
                <a:gd name="T53" fmla="*/ 2147483647 h 320"/>
                <a:gd name="T54" fmla="*/ 2147483647 w 388"/>
                <a:gd name="T55" fmla="*/ 2147483647 h 320"/>
                <a:gd name="T56" fmla="*/ 2147483647 w 388"/>
                <a:gd name="T57" fmla="*/ 2147483647 h 320"/>
                <a:gd name="T58" fmla="*/ 2147483647 w 388"/>
                <a:gd name="T59" fmla="*/ 2147483647 h 320"/>
                <a:gd name="T60" fmla="*/ 2147483647 w 388"/>
                <a:gd name="T61" fmla="*/ 2147483647 h 320"/>
                <a:gd name="T62" fmla="*/ 2147483647 w 388"/>
                <a:gd name="T63" fmla="*/ 2147483647 h 320"/>
                <a:gd name="T64" fmla="*/ 2147483647 w 388"/>
                <a:gd name="T65" fmla="*/ 2147483647 h 320"/>
                <a:gd name="T66" fmla="*/ 2147483647 w 388"/>
                <a:gd name="T67" fmla="*/ 2147483647 h 3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8"/>
                <a:gd name="T103" fmla="*/ 0 h 320"/>
                <a:gd name="T104" fmla="*/ 388 w 388"/>
                <a:gd name="T105" fmla="*/ 320 h 3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8" h="320">
                  <a:moveTo>
                    <a:pt x="287" y="264"/>
                  </a:moveTo>
                  <a:lnTo>
                    <a:pt x="312" y="248"/>
                  </a:lnTo>
                  <a:lnTo>
                    <a:pt x="320" y="216"/>
                  </a:lnTo>
                  <a:lnTo>
                    <a:pt x="346" y="216"/>
                  </a:lnTo>
                  <a:lnTo>
                    <a:pt x="337" y="192"/>
                  </a:lnTo>
                  <a:lnTo>
                    <a:pt x="388" y="176"/>
                  </a:lnTo>
                  <a:lnTo>
                    <a:pt x="362" y="136"/>
                  </a:lnTo>
                  <a:lnTo>
                    <a:pt x="388" y="120"/>
                  </a:lnTo>
                  <a:lnTo>
                    <a:pt x="346" y="96"/>
                  </a:lnTo>
                  <a:lnTo>
                    <a:pt x="337" y="64"/>
                  </a:lnTo>
                  <a:lnTo>
                    <a:pt x="337" y="32"/>
                  </a:lnTo>
                  <a:lnTo>
                    <a:pt x="304" y="32"/>
                  </a:lnTo>
                  <a:lnTo>
                    <a:pt x="295" y="16"/>
                  </a:lnTo>
                  <a:lnTo>
                    <a:pt x="270" y="16"/>
                  </a:lnTo>
                  <a:lnTo>
                    <a:pt x="236" y="8"/>
                  </a:lnTo>
                  <a:lnTo>
                    <a:pt x="202" y="16"/>
                  </a:lnTo>
                  <a:lnTo>
                    <a:pt x="152" y="8"/>
                  </a:lnTo>
                  <a:lnTo>
                    <a:pt x="110" y="0"/>
                  </a:lnTo>
                  <a:lnTo>
                    <a:pt x="76" y="8"/>
                  </a:lnTo>
                  <a:lnTo>
                    <a:pt x="68" y="32"/>
                  </a:lnTo>
                  <a:lnTo>
                    <a:pt x="34" y="16"/>
                  </a:lnTo>
                  <a:lnTo>
                    <a:pt x="17" y="16"/>
                  </a:lnTo>
                  <a:lnTo>
                    <a:pt x="0" y="64"/>
                  </a:lnTo>
                  <a:lnTo>
                    <a:pt x="34" y="80"/>
                  </a:lnTo>
                  <a:lnTo>
                    <a:pt x="68" y="128"/>
                  </a:lnTo>
                  <a:lnTo>
                    <a:pt x="118" y="160"/>
                  </a:lnTo>
                  <a:lnTo>
                    <a:pt x="143" y="192"/>
                  </a:lnTo>
                  <a:lnTo>
                    <a:pt x="177" y="208"/>
                  </a:lnTo>
                  <a:lnTo>
                    <a:pt x="186" y="224"/>
                  </a:lnTo>
                  <a:lnTo>
                    <a:pt x="211" y="248"/>
                  </a:lnTo>
                  <a:lnTo>
                    <a:pt x="211" y="280"/>
                  </a:lnTo>
                  <a:lnTo>
                    <a:pt x="295" y="320"/>
                  </a:lnTo>
                  <a:lnTo>
                    <a:pt x="295" y="280"/>
                  </a:lnTo>
                  <a:lnTo>
                    <a:pt x="287" y="26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73" name="Freeform 54"/>
            <p:cNvSpPr>
              <a:spLocks/>
            </p:cNvSpPr>
            <p:nvPr/>
          </p:nvSpPr>
          <p:spPr bwMode="auto">
            <a:xfrm>
              <a:off x="5641975" y="4176713"/>
              <a:ext cx="701675" cy="441325"/>
            </a:xfrm>
            <a:custGeom>
              <a:avLst/>
              <a:gdLst>
                <a:gd name="T0" fmla="*/ 2147483647 w 573"/>
                <a:gd name="T1" fmla="*/ 2147483647 h 368"/>
                <a:gd name="T2" fmla="*/ 2147483647 w 573"/>
                <a:gd name="T3" fmla="*/ 2147483647 h 368"/>
                <a:gd name="T4" fmla="*/ 2147483647 w 573"/>
                <a:gd name="T5" fmla="*/ 2147483647 h 368"/>
                <a:gd name="T6" fmla="*/ 2147483647 w 573"/>
                <a:gd name="T7" fmla="*/ 2147483647 h 368"/>
                <a:gd name="T8" fmla="*/ 2147483647 w 573"/>
                <a:gd name="T9" fmla="*/ 2147483647 h 368"/>
                <a:gd name="T10" fmla="*/ 2147483647 w 573"/>
                <a:gd name="T11" fmla="*/ 2147483647 h 368"/>
                <a:gd name="T12" fmla="*/ 2147483647 w 573"/>
                <a:gd name="T13" fmla="*/ 2147483647 h 368"/>
                <a:gd name="T14" fmla="*/ 2147483647 w 573"/>
                <a:gd name="T15" fmla="*/ 2147483647 h 368"/>
                <a:gd name="T16" fmla="*/ 2147483647 w 573"/>
                <a:gd name="T17" fmla="*/ 2147483647 h 368"/>
                <a:gd name="T18" fmla="*/ 2147483647 w 573"/>
                <a:gd name="T19" fmla="*/ 2147483647 h 368"/>
                <a:gd name="T20" fmla="*/ 2147483647 w 573"/>
                <a:gd name="T21" fmla="*/ 2147483647 h 368"/>
                <a:gd name="T22" fmla="*/ 2147483647 w 573"/>
                <a:gd name="T23" fmla="*/ 2147483647 h 368"/>
                <a:gd name="T24" fmla="*/ 2147483647 w 573"/>
                <a:gd name="T25" fmla="*/ 2147483647 h 368"/>
                <a:gd name="T26" fmla="*/ 2147483647 w 573"/>
                <a:gd name="T27" fmla="*/ 0 h 368"/>
                <a:gd name="T28" fmla="*/ 2147483647 w 573"/>
                <a:gd name="T29" fmla="*/ 2147483647 h 368"/>
                <a:gd name="T30" fmla="*/ 2147483647 w 573"/>
                <a:gd name="T31" fmla="*/ 0 h 368"/>
                <a:gd name="T32" fmla="*/ 2147483647 w 573"/>
                <a:gd name="T33" fmla="*/ 2147483647 h 368"/>
                <a:gd name="T34" fmla="*/ 2147483647 w 573"/>
                <a:gd name="T35" fmla="*/ 2147483647 h 368"/>
                <a:gd name="T36" fmla="*/ 2147483647 w 573"/>
                <a:gd name="T37" fmla="*/ 2147483647 h 368"/>
                <a:gd name="T38" fmla="*/ 2147483647 w 573"/>
                <a:gd name="T39" fmla="*/ 2147483647 h 368"/>
                <a:gd name="T40" fmla="*/ 2147483647 w 573"/>
                <a:gd name="T41" fmla="*/ 2147483647 h 368"/>
                <a:gd name="T42" fmla="*/ 2147483647 w 573"/>
                <a:gd name="T43" fmla="*/ 2147483647 h 368"/>
                <a:gd name="T44" fmla="*/ 2147483647 w 573"/>
                <a:gd name="T45" fmla="*/ 2147483647 h 368"/>
                <a:gd name="T46" fmla="*/ 2147483647 w 573"/>
                <a:gd name="T47" fmla="*/ 2147483647 h 368"/>
                <a:gd name="T48" fmla="*/ 2147483647 w 573"/>
                <a:gd name="T49" fmla="*/ 2147483647 h 368"/>
                <a:gd name="T50" fmla="*/ 2147483647 w 573"/>
                <a:gd name="T51" fmla="*/ 2147483647 h 368"/>
                <a:gd name="T52" fmla="*/ 2147483647 w 573"/>
                <a:gd name="T53" fmla="*/ 2147483647 h 368"/>
                <a:gd name="T54" fmla="*/ 2147483647 w 573"/>
                <a:gd name="T55" fmla="*/ 2147483647 h 368"/>
                <a:gd name="T56" fmla="*/ 2147483647 w 573"/>
                <a:gd name="T57" fmla="*/ 2147483647 h 368"/>
                <a:gd name="T58" fmla="*/ 2147483647 w 573"/>
                <a:gd name="T59" fmla="*/ 2147483647 h 368"/>
                <a:gd name="T60" fmla="*/ 0 w 573"/>
                <a:gd name="T61" fmla="*/ 2147483647 h 368"/>
                <a:gd name="T62" fmla="*/ 2147483647 w 573"/>
                <a:gd name="T63" fmla="*/ 2147483647 h 368"/>
                <a:gd name="T64" fmla="*/ 2147483647 w 573"/>
                <a:gd name="T65" fmla="*/ 2147483647 h 368"/>
                <a:gd name="T66" fmla="*/ 2147483647 w 573"/>
                <a:gd name="T67" fmla="*/ 2147483647 h 368"/>
                <a:gd name="T68" fmla="*/ 2147483647 w 573"/>
                <a:gd name="T69" fmla="*/ 2147483647 h 368"/>
                <a:gd name="T70" fmla="*/ 2147483647 w 573"/>
                <a:gd name="T71" fmla="*/ 2147483647 h 368"/>
                <a:gd name="T72" fmla="*/ 2147483647 w 573"/>
                <a:gd name="T73" fmla="*/ 2147483647 h 368"/>
                <a:gd name="T74" fmla="*/ 2147483647 w 573"/>
                <a:gd name="T75" fmla="*/ 2147483647 h 368"/>
                <a:gd name="T76" fmla="*/ 2147483647 w 573"/>
                <a:gd name="T77" fmla="*/ 2147483647 h 368"/>
                <a:gd name="T78" fmla="*/ 2147483647 w 573"/>
                <a:gd name="T79" fmla="*/ 2147483647 h 368"/>
                <a:gd name="T80" fmla="*/ 2147483647 w 573"/>
                <a:gd name="T81" fmla="*/ 2147483647 h 368"/>
                <a:gd name="T82" fmla="*/ 2147483647 w 573"/>
                <a:gd name="T83" fmla="*/ 2147483647 h 368"/>
                <a:gd name="T84" fmla="*/ 2147483647 w 573"/>
                <a:gd name="T85" fmla="*/ 2147483647 h 3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3"/>
                <a:gd name="T130" fmla="*/ 0 h 368"/>
                <a:gd name="T131" fmla="*/ 573 w 573"/>
                <a:gd name="T132" fmla="*/ 368 h 36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3" h="368">
                  <a:moveTo>
                    <a:pt x="295" y="320"/>
                  </a:moveTo>
                  <a:lnTo>
                    <a:pt x="329" y="304"/>
                  </a:lnTo>
                  <a:lnTo>
                    <a:pt x="380" y="304"/>
                  </a:lnTo>
                  <a:lnTo>
                    <a:pt x="413" y="288"/>
                  </a:lnTo>
                  <a:lnTo>
                    <a:pt x="439" y="272"/>
                  </a:lnTo>
                  <a:lnTo>
                    <a:pt x="455" y="264"/>
                  </a:lnTo>
                  <a:lnTo>
                    <a:pt x="464" y="224"/>
                  </a:lnTo>
                  <a:lnTo>
                    <a:pt x="472" y="200"/>
                  </a:lnTo>
                  <a:lnTo>
                    <a:pt x="498" y="168"/>
                  </a:lnTo>
                  <a:lnTo>
                    <a:pt x="523" y="112"/>
                  </a:lnTo>
                  <a:lnTo>
                    <a:pt x="548" y="72"/>
                  </a:lnTo>
                  <a:lnTo>
                    <a:pt x="573" y="48"/>
                  </a:lnTo>
                  <a:lnTo>
                    <a:pt x="548" y="24"/>
                  </a:lnTo>
                  <a:lnTo>
                    <a:pt x="514" y="0"/>
                  </a:lnTo>
                  <a:lnTo>
                    <a:pt x="472" y="8"/>
                  </a:lnTo>
                  <a:lnTo>
                    <a:pt x="447" y="0"/>
                  </a:lnTo>
                  <a:lnTo>
                    <a:pt x="405" y="8"/>
                  </a:lnTo>
                  <a:lnTo>
                    <a:pt x="371" y="8"/>
                  </a:lnTo>
                  <a:lnTo>
                    <a:pt x="329" y="56"/>
                  </a:lnTo>
                  <a:lnTo>
                    <a:pt x="287" y="48"/>
                  </a:lnTo>
                  <a:lnTo>
                    <a:pt x="279" y="64"/>
                  </a:lnTo>
                  <a:lnTo>
                    <a:pt x="228" y="80"/>
                  </a:lnTo>
                  <a:lnTo>
                    <a:pt x="228" y="112"/>
                  </a:lnTo>
                  <a:lnTo>
                    <a:pt x="110" y="128"/>
                  </a:lnTo>
                  <a:lnTo>
                    <a:pt x="85" y="112"/>
                  </a:lnTo>
                  <a:lnTo>
                    <a:pt x="68" y="104"/>
                  </a:lnTo>
                  <a:lnTo>
                    <a:pt x="68" y="128"/>
                  </a:lnTo>
                  <a:lnTo>
                    <a:pt x="26" y="144"/>
                  </a:lnTo>
                  <a:lnTo>
                    <a:pt x="26" y="184"/>
                  </a:lnTo>
                  <a:lnTo>
                    <a:pt x="17" y="224"/>
                  </a:lnTo>
                  <a:lnTo>
                    <a:pt x="0" y="240"/>
                  </a:lnTo>
                  <a:lnTo>
                    <a:pt x="43" y="288"/>
                  </a:lnTo>
                  <a:lnTo>
                    <a:pt x="34" y="296"/>
                  </a:lnTo>
                  <a:lnTo>
                    <a:pt x="68" y="312"/>
                  </a:lnTo>
                  <a:lnTo>
                    <a:pt x="93" y="336"/>
                  </a:lnTo>
                  <a:lnTo>
                    <a:pt x="118" y="352"/>
                  </a:lnTo>
                  <a:lnTo>
                    <a:pt x="152" y="344"/>
                  </a:lnTo>
                  <a:lnTo>
                    <a:pt x="161" y="368"/>
                  </a:lnTo>
                  <a:lnTo>
                    <a:pt x="194" y="368"/>
                  </a:lnTo>
                  <a:lnTo>
                    <a:pt x="253" y="344"/>
                  </a:lnTo>
                  <a:lnTo>
                    <a:pt x="262" y="344"/>
                  </a:lnTo>
                  <a:lnTo>
                    <a:pt x="270" y="320"/>
                  </a:lnTo>
                  <a:lnTo>
                    <a:pt x="295" y="32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74" name="Freeform 55"/>
            <p:cNvSpPr>
              <a:spLocks/>
            </p:cNvSpPr>
            <p:nvPr/>
          </p:nvSpPr>
          <p:spPr bwMode="auto">
            <a:xfrm>
              <a:off x="5611813" y="4694238"/>
              <a:ext cx="474663" cy="382588"/>
            </a:xfrm>
            <a:custGeom>
              <a:avLst/>
              <a:gdLst>
                <a:gd name="T0" fmla="*/ 2147483647 w 388"/>
                <a:gd name="T1" fmla="*/ 2147483647 h 320"/>
                <a:gd name="T2" fmla="*/ 2147483647 w 388"/>
                <a:gd name="T3" fmla="*/ 2147483647 h 320"/>
                <a:gd name="T4" fmla="*/ 2147483647 w 388"/>
                <a:gd name="T5" fmla="*/ 2147483647 h 320"/>
                <a:gd name="T6" fmla="*/ 2147483647 w 388"/>
                <a:gd name="T7" fmla="*/ 2147483647 h 320"/>
                <a:gd name="T8" fmla="*/ 2147483647 w 388"/>
                <a:gd name="T9" fmla="*/ 2147483647 h 320"/>
                <a:gd name="T10" fmla="*/ 2147483647 w 388"/>
                <a:gd name="T11" fmla="*/ 2147483647 h 320"/>
                <a:gd name="T12" fmla="*/ 2147483647 w 388"/>
                <a:gd name="T13" fmla="*/ 2147483647 h 320"/>
                <a:gd name="T14" fmla="*/ 2147483647 w 388"/>
                <a:gd name="T15" fmla="*/ 2147483647 h 320"/>
                <a:gd name="T16" fmla="*/ 2147483647 w 388"/>
                <a:gd name="T17" fmla="*/ 2147483647 h 320"/>
                <a:gd name="T18" fmla="*/ 2147483647 w 388"/>
                <a:gd name="T19" fmla="*/ 2147483647 h 320"/>
                <a:gd name="T20" fmla="*/ 2147483647 w 388"/>
                <a:gd name="T21" fmla="*/ 2147483647 h 320"/>
                <a:gd name="T22" fmla="*/ 2147483647 w 388"/>
                <a:gd name="T23" fmla="*/ 2147483647 h 320"/>
                <a:gd name="T24" fmla="*/ 2147483647 w 388"/>
                <a:gd name="T25" fmla="*/ 2147483647 h 320"/>
                <a:gd name="T26" fmla="*/ 2147483647 w 388"/>
                <a:gd name="T27" fmla="*/ 2147483647 h 320"/>
                <a:gd name="T28" fmla="*/ 2147483647 w 388"/>
                <a:gd name="T29" fmla="*/ 2147483647 h 320"/>
                <a:gd name="T30" fmla="*/ 2147483647 w 388"/>
                <a:gd name="T31" fmla="*/ 2147483647 h 320"/>
                <a:gd name="T32" fmla="*/ 2147483647 w 388"/>
                <a:gd name="T33" fmla="*/ 2147483647 h 320"/>
                <a:gd name="T34" fmla="*/ 2147483647 w 388"/>
                <a:gd name="T35" fmla="*/ 0 h 320"/>
                <a:gd name="T36" fmla="*/ 2147483647 w 388"/>
                <a:gd name="T37" fmla="*/ 2147483647 h 320"/>
                <a:gd name="T38" fmla="*/ 2147483647 w 388"/>
                <a:gd name="T39" fmla="*/ 2147483647 h 320"/>
                <a:gd name="T40" fmla="*/ 2147483647 w 388"/>
                <a:gd name="T41" fmla="*/ 2147483647 h 320"/>
                <a:gd name="T42" fmla="*/ 2147483647 w 388"/>
                <a:gd name="T43" fmla="*/ 2147483647 h 320"/>
                <a:gd name="T44" fmla="*/ 0 w 388"/>
                <a:gd name="T45" fmla="*/ 2147483647 h 320"/>
                <a:gd name="T46" fmla="*/ 2147483647 w 388"/>
                <a:gd name="T47" fmla="*/ 2147483647 h 320"/>
                <a:gd name="T48" fmla="*/ 2147483647 w 388"/>
                <a:gd name="T49" fmla="*/ 2147483647 h 320"/>
                <a:gd name="T50" fmla="*/ 2147483647 w 388"/>
                <a:gd name="T51" fmla="*/ 2147483647 h 320"/>
                <a:gd name="T52" fmla="*/ 2147483647 w 388"/>
                <a:gd name="T53" fmla="*/ 2147483647 h 320"/>
                <a:gd name="T54" fmla="*/ 2147483647 w 388"/>
                <a:gd name="T55" fmla="*/ 2147483647 h 320"/>
                <a:gd name="T56" fmla="*/ 2147483647 w 388"/>
                <a:gd name="T57" fmla="*/ 2147483647 h 320"/>
                <a:gd name="T58" fmla="*/ 2147483647 w 388"/>
                <a:gd name="T59" fmla="*/ 2147483647 h 320"/>
                <a:gd name="T60" fmla="*/ 2147483647 w 388"/>
                <a:gd name="T61" fmla="*/ 2147483647 h 320"/>
                <a:gd name="T62" fmla="*/ 2147483647 w 388"/>
                <a:gd name="T63" fmla="*/ 2147483647 h 320"/>
                <a:gd name="T64" fmla="*/ 2147483647 w 388"/>
                <a:gd name="T65" fmla="*/ 2147483647 h 320"/>
                <a:gd name="T66" fmla="*/ 2147483647 w 388"/>
                <a:gd name="T67" fmla="*/ 2147483647 h 3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8"/>
                <a:gd name="T103" fmla="*/ 0 h 320"/>
                <a:gd name="T104" fmla="*/ 388 w 388"/>
                <a:gd name="T105" fmla="*/ 320 h 3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8" h="320">
                  <a:moveTo>
                    <a:pt x="287" y="264"/>
                  </a:moveTo>
                  <a:lnTo>
                    <a:pt x="312" y="248"/>
                  </a:lnTo>
                  <a:lnTo>
                    <a:pt x="320" y="216"/>
                  </a:lnTo>
                  <a:lnTo>
                    <a:pt x="346" y="216"/>
                  </a:lnTo>
                  <a:lnTo>
                    <a:pt x="337" y="192"/>
                  </a:lnTo>
                  <a:lnTo>
                    <a:pt x="388" y="176"/>
                  </a:lnTo>
                  <a:lnTo>
                    <a:pt x="362" y="136"/>
                  </a:lnTo>
                  <a:lnTo>
                    <a:pt x="388" y="120"/>
                  </a:lnTo>
                  <a:lnTo>
                    <a:pt x="346" y="96"/>
                  </a:lnTo>
                  <a:lnTo>
                    <a:pt x="337" y="64"/>
                  </a:lnTo>
                  <a:lnTo>
                    <a:pt x="337" y="32"/>
                  </a:lnTo>
                  <a:lnTo>
                    <a:pt x="304" y="32"/>
                  </a:lnTo>
                  <a:lnTo>
                    <a:pt x="295" y="16"/>
                  </a:lnTo>
                  <a:lnTo>
                    <a:pt x="270" y="16"/>
                  </a:lnTo>
                  <a:lnTo>
                    <a:pt x="236" y="8"/>
                  </a:lnTo>
                  <a:lnTo>
                    <a:pt x="202" y="16"/>
                  </a:lnTo>
                  <a:lnTo>
                    <a:pt x="152" y="8"/>
                  </a:lnTo>
                  <a:lnTo>
                    <a:pt x="110" y="0"/>
                  </a:lnTo>
                  <a:lnTo>
                    <a:pt x="76" y="8"/>
                  </a:lnTo>
                  <a:lnTo>
                    <a:pt x="68" y="32"/>
                  </a:lnTo>
                  <a:lnTo>
                    <a:pt x="34" y="16"/>
                  </a:lnTo>
                  <a:lnTo>
                    <a:pt x="17" y="16"/>
                  </a:lnTo>
                  <a:lnTo>
                    <a:pt x="0" y="64"/>
                  </a:lnTo>
                  <a:lnTo>
                    <a:pt x="34" y="80"/>
                  </a:lnTo>
                  <a:lnTo>
                    <a:pt x="68" y="128"/>
                  </a:lnTo>
                  <a:lnTo>
                    <a:pt x="118" y="160"/>
                  </a:lnTo>
                  <a:lnTo>
                    <a:pt x="143" y="192"/>
                  </a:lnTo>
                  <a:lnTo>
                    <a:pt x="177" y="208"/>
                  </a:lnTo>
                  <a:lnTo>
                    <a:pt x="186" y="224"/>
                  </a:lnTo>
                  <a:lnTo>
                    <a:pt x="211" y="248"/>
                  </a:lnTo>
                  <a:lnTo>
                    <a:pt x="211" y="280"/>
                  </a:lnTo>
                  <a:lnTo>
                    <a:pt x="295" y="320"/>
                  </a:lnTo>
                  <a:lnTo>
                    <a:pt x="295" y="280"/>
                  </a:lnTo>
                  <a:lnTo>
                    <a:pt x="287" y="264"/>
                  </a:lnTo>
                  <a:close/>
                </a:path>
              </a:pathLst>
            </a:custGeom>
            <a:solidFill>
              <a:schemeClr val="bg1"/>
            </a:solidFill>
            <a:ln w="12700">
              <a:solidFill>
                <a:srgbClr val="000000"/>
              </a:solidFill>
              <a:round/>
              <a:headEnd/>
              <a:tailEnd/>
            </a:ln>
          </p:spPr>
          <p:txBody>
            <a:bodyPr/>
            <a:lstStyle/>
            <a:p>
              <a:endParaRPr lang="en-US"/>
            </a:p>
          </p:txBody>
        </p:sp>
        <p:sp>
          <p:nvSpPr>
            <p:cNvPr id="34875" name="Freeform 56"/>
            <p:cNvSpPr>
              <a:spLocks/>
            </p:cNvSpPr>
            <p:nvPr/>
          </p:nvSpPr>
          <p:spPr bwMode="auto">
            <a:xfrm>
              <a:off x="5641975" y="4176713"/>
              <a:ext cx="701675" cy="441325"/>
            </a:xfrm>
            <a:custGeom>
              <a:avLst/>
              <a:gdLst>
                <a:gd name="T0" fmla="*/ 2147483647 w 573"/>
                <a:gd name="T1" fmla="*/ 2147483647 h 368"/>
                <a:gd name="T2" fmla="*/ 2147483647 w 573"/>
                <a:gd name="T3" fmla="*/ 2147483647 h 368"/>
                <a:gd name="T4" fmla="*/ 2147483647 w 573"/>
                <a:gd name="T5" fmla="*/ 2147483647 h 368"/>
                <a:gd name="T6" fmla="*/ 2147483647 w 573"/>
                <a:gd name="T7" fmla="*/ 2147483647 h 368"/>
                <a:gd name="T8" fmla="*/ 2147483647 w 573"/>
                <a:gd name="T9" fmla="*/ 2147483647 h 368"/>
                <a:gd name="T10" fmla="*/ 2147483647 w 573"/>
                <a:gd name="T11" fmla="*/ 2147483647 h 368"/>
                <a:gd name="T12" fmla="*/ 2147483647 w 573"/>
                <a:gd name="T13" fmla="*/ 2147483647 h 368"/>
                <a:gd name="T14" fmla="*/ 2147483647 w 573"/>
                <a:gd name="T15" fmla="*/ 2147483647 h 368"/>
                <a:gd name="T16" fmla="*/ 2147483647 w 573"/>
                <a:gd name="T17" fmla="*/ 2147483647 h 368"/>
                <a:gd name="T18" fmla="*/ 2147483647 w 573"/>
                <a:gd name="T19" fmla="*/ 2147483647 h 368"/>
                <a:gd name="T20" fmla="*/ 2147483647 w 573"/>
                <a:gd name="T21" fmla="*/ 2147483647 h 368"/>
                <a:gd name="T22" fmla="*/ 2147483647 w 573"/>
                <a:gd name="T23" fmla="*/ 2147483647 h 368"/>
                <a:gd name="T24" fmla="*/ 2147483647 w 573"/>
                <a:gd name="T25" fmla="*/ 2147483647 h 368"/>
                <a:gd name="T26" fmla="*/ 2147483647 w 573"/>
                <a:gd name="T27" fmla="*/ 0 h 368"/>
                <a:gd name="T28" fmla="*/ 2147483647 w 573"/>
                <a:gd name="T29" fmla="*/ 2147483647 h 368"/>
                <a:gd name="T30" fmla="*/ 2147483647 w 573"/>
                <a:gd name="T31" fmla="*/ 0 h 368"/>
                <a:gd name="T32" fmla="*/ 2147483647 w 573"/>
                <a:gd name="T33" fmla="*/ 2147483647 h 368"/>
                <a:gd name="T34" fmla="*/ 2147483647 w 573"/>
                <a:gd name="T35" fmla="*/ 2147483647 h 368"/>
                <a:gd name="T36" fmla="*/ 2147483647 w 573"/>
                <a:gd name="T37" fmla="*/ 2147483647 h 368"/>
                <a:gd name="T38" fmla="*/ 2147483647 w 573"/>
                <a:gd name="T39" fmla="*/ 2147483647 h 368"/>
                <a:gd name="T40" fmla="*/ 2147483647 w 573"/>
                <a:gd name="T41" fmla="*/ 2147483647 h 368"/>
                <a:gd name="T42" fmla="*/ 2147483647 w 573"/>
                <a:gd name="T43" fmla="*/ 2147483647 h 368"/>
                <a:gd name="T44" fmla="*/ 2147483647 w 573"/>
                <a:gd name="T45" fmla="*/ 2147483647 h 368"/>
                <a:gd name="T46" fmla="*/ 2147483647 w 573"/>
                <a:gd name="T47" fmla="*/ 2147483647 h 368"/>
                <a:gd name="T48" fmla="*/ 2147483647 w 573"/>
                <a:gd name="T49" fmla="*/ 2147483647 h 368"/>
                <a:gd name="T50" fmla="*/ 2147483647 w 573"/>
                <a:gd name="T51" fmla="*/ 2147483647 h 368"/>
                <a:gd name="T52" fmla="*/ 2147483647 w 573"/>
                <a:gd name="T53" fmla="*/ 2147483647 h 368"/>
                <a:gd name="T54" fmla="*/ 2147483647 w 573"/>
                <a:gd name="T55" fmla="*/ 2147483647 h 368"/>
                <a:gd name="T56" fmla="*/ 2147483647 w 573"/>
                <a:gd name="T57" fmla="*/ 2147483647 h 368"/>
                <a:gd name="T58" fmla="*/ 2147483647 w 573"/>
                <a:gd name="T59" fmla="*/ 2147483647 h 368"/>
                <a:gd name="T60" fmla="*/ 0 w 573"/>
                <a:gd name="T61" fmla="*/ 2147483647 h 368"/>
                <a:gd name="T62" fmla="*/ 2147483647 w 573"/>
                <a:gd name="T63" fmla="*/ 2147483647 h 368"/>
                <a:gd name="T64" fmla="*/ 2147483647 w 573"/>
                <a:gd name="T65" fmla="*/ 2147483647 h 368"/>
                <a:gd name="T66" fmla="*/ 2147483647 w 573"/>
                <a:gd name="T67" fmla="*/ 2147483647 h 368"/>
                <a:gd name="T68" fmla="*/ 2147483647 w 573"/>
                <a:gd name="T69" fmla="*/ 2147483647 h 368"/>
                <a:gd name="T70" fmla="*/ 2147483647 w 573"/>
                <a:gd name="T71" fmla="*/ 2147483647 h 368"/>
                <a:gd name="T72" fmla="*/ 2147483647 w 573"/>
                <a:gd name="T73" fmla="*/ 2147483647 h 368"/>
                <a:gd name="T74" fmla="*/ 2147483647 w 573"/>
                <a:gd name="T75" fmla="*/ 2147483647 h 368"/>
                <a:gd name="T76" fmla="*/ 2147483647 w 573"/>
                <a:gd name="T77" fmla="*/ 2147483647 h 368"/>
                <a:gd name="T78" fmla="*/ 2147483647 w 573"/>
                <a:gd name="T79" fmla="*/ 2147483647 h 368"/>
                <a:gd name="T80" fmla="*/ 2147483647 w 573"/>
                <a:gd name="T81" fmla="*/ 2147483647 h 368"/>
                <a:gd name="T82" fmla="*/ 2147483647 w 573"/>
                <a:gd name="T83" fmla="*/ 2147483647 h 368"/>
                <a:gd name="T84" fmla="*/ 2147483647 w 573"/>
                <a:gd name="T85" fmla="*/ 2147483647 h 3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3"/>
                <a:gd name="T130" fmla="*/ 0 h 368"/>
                <a:gd name="T131" fmla="*/ 573 w 573"/>
                <a:gd name="T132" fmla="*/ 368 h 36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3" h="368">
                  <a:moveTo>
                    <a:pt x="295" y="320"/>
                  </a:moveTo>
                  <a:lnTo>
                    <a:pt x="329" y="304"/>
                  </a:lnTo>
                  <a:lnTo>
                    <a:pt x="380" y="304"/>
                  </a:lnTo>
                  <a:lnTo>
                    <a:pt x="413" y="288"/>
                  </a:lnTo>
                  <a:lnTo>
                    <a:pt x="439" y="272"/>
                  </a:lnTo>
                  <a:lnTo>
                    <a:pt x="455" y="264"/>
                  </a:lnTo>
                  <a:lnTo>
                    <a:pt x="464" y="224"/>
                  </a:lnTo>
                  <a:lnTo>
                    <a:pt x="472" y="200"/>
                  </a:lnTo>
                  <a:lnTo>
                    <a:pt x="498" y="168"/>
                  </a:lnTo>
                  <a:lnTo>
                    <a:pt x="523" y="112"/>
                  </a:lnTo>
                  <a:lnTo>
                    <a:pt x="548" y="72"/>
                  </a:lnTo>
                  <a:lnTo>
                    <a:pt x="573" y="48"/>
                  </a:lnTo>
                  <a:lnTo>
                    <a:pt x="548" y="24"/>
                  </a:lnTo>
                  <a:lnTo>
                    <a:pt x="514" y="0"/>
                  </a:lnTo>
                  <a:lnTo>
                    <a:pt x="472" y="8"/>
                  </a:lnTo>
                  <a:lnTo>
                    <a:pt x="447" y="0"/>
                  </a:lnTo>
                  <a:lnTo>
                    <a:pt x="405" y="8"/>
                  </a:lnTo>
                  <a:lnTo>
                    <a:pt x="371" y="8"/>
                  </a:lnTo>
                  <a:lnTo>
                    <a:pt x="329" y="56"/>
                  </a:lnTo>
                  <a:lnTo>
                    <a:pt x="287" y="48"/>
                  </a:lnTo>
                  <a:lnTo>
                    <a:pt x="279" y="64"/>
                  </a:lnTo>
                  <a:lnTo>
                    <a:pt x="228" y="80"/>
                  </a:lnTo>
                  <a:lnTo>
                    <a:pt x="228" y="112"/>
                  </a:lnTo>
                  <a:lnTo>
                    <a:pt x="110" y="128"/>
                  </a:lnTo>
                  <a:lnTo>
                    <a:pt x="85" y="112"/>
                  </a:lnTo>
                  <a:lnTo>
                    <a:pt x="68" y="104"/>
                  </a:lnTo>
                  <a:lnTo>
                    <a:pt x="68" y="128"/>
                  </a:lnTo>
                  <a:lnTo>
                    <a:pt x="26" y="144"/>
                  </a:lnTo>
                  <a:lnTo>
                    <a:pt x="26" y="184"/>
                  </a:lnTo>
                  <a:lnTo>
                    <a:pt x="17" y="224"/>
                  </a:lnTo>
                  <a:lnTo>
                    <a:pt x="0" y="240"/>
                  </a:lnTo>
                  <a:lnTo>
                    <a:pt x="43" y="288"/>
                  </a:lnTo>
                  <a:lnTo>
                    <a:pt x="34" y="296"/>
                  </a:lnTo>
                  <a:lnTo>
                    <a:pt x="68" y="312"/>
                  </a:lnTo>
                  <a:lnTo>
                    <a:pt x="93" y="336"/>
                  </a:lnTo>
                  <a:lnTo>
                    <a:pt x="118" y="352"/>
                  </a:lnTo>
                  <a:lnTo>
                    <a:pt x="152" y="344"/>
                  </a:lnTo>
                  <a:lnTo>
                    <a:pt x="161" y="368"/>
                  </a:lnTo>
                  <a:lnTo>
                    <a:pt x="194" y="368"/>
                  </a:lnTo>
                  <a:lnTo>
                    <a:pt x="253" y="344"/>
                  </a:lnTo>
                  <a:lnTo>
                    <a:pt x="262" y="344"/>
                  </a:lnTo>
                  <a:lnTo>
                    <a:pt x="270" y="320"/>
                  </a:lnTo>
                  <a:lnTo>
                    <a:pt x="295" y="320"/>
                  </a:lnTo>
                  <a:close/>
                </a:path>
              </a:pathLst>
            </a:custGeom>
            <a:solidFill>
              <a:schemeClr val="bg1"/>
            </a:solidFill>
            <a:ln w="12700">
              <a:solidFill>
                <a:srgbClr val="000000"/>
              </a:solidFill>
              <a:round/>
              <a:headEnd/>
              <a:tailEnd/>
            </a:ln>
          </p:spPr>
          <p:txBody>
            <a:bodyPr/>
            <a:lstStyle/>
            <a:p>
              <a:endParaRPr lang="en-US"/>
            </a:p>
          </p:txBody>
        </p:sp>
        <p:sp>
          <p:nvSpPr>
            <p:cNvPr id="34876" name="Freeform 57"/>
            <p:cNvSpPr>
              <a:spLocks/>
            </p:cNvSpPr>
            <p:nvPr/>
          </p:nvSpPr>
          <p:spPr bwMode="auto">
            <a:xfrm>
              <a:off x="6199188" y="4176713"/>
              <a:ext cx="31750" cy="9525"/>
            </a:xfrm>
            <a:custGeom>
              <a:avLst/>
              <a:gdLst>
                <a:gd name="T0" fmla="*/ 2147483647 w 26"/>
                <a:gd name="T1" fmla="*/ 2147483647 h 8"/>
                <a:gd name="T2" fmla="*/ 2147483647 w 26"/>
                <a:gd name="T3" fmla="*/ 2147483647 h 8"/>
                <a:gd name="T4" fmla="*/ 0 w 26"/>
                <a:gd name="T5" fmla="*/ 0 h 8"/>
                <a:gd name="T6" fmla="*/ 2147483647 w 26"/>
                <a:gd name="T7" fmla="*/ 2147483647 h 8"/>
                <a:gd name="T8" fmla="*/ 0 60000 65536"/>
                <a:gd name="T9" fmla="*/ 0 60000 65536"/>
                <a:gd name="T10" fmla="*/ 0 60000 65536"/>
                <a:gd name="T11" fmla="*/ 0 60000 65536"/>
                <a:gd name="T12" fmla="*/ 0 w 26"/>
                <a:gd name="T13" fmla="*/ 0 h 8"/>
                <a:gd name="T14" fmla="*/ 26 w 26"/>
                <a:gd name="T15" fmla="*/ 8 h 8"/>
              </a:gdLst>
              <a:ahLst/>
              <a:cxnLst>
                <a:cxn ang="T8">
                  <a:pos x="T0" y="T1"/>
                </a:cxn>
                <a:cxn ang="T9">
                  <a:pos x="T2" y="T3"/>
                </a:cxn>
                <a:cxn ang="T10">
                  <a:pos x="T4" y="T5"/>
                </a:cxn>
                <a:cxn ang="T11">
                  <a:pos x="T6" y="T7"/>
                </a:cxn>
              </a:cxnLst>
              <a:rect l="T12" t="T13" r="T14" b="T15"/>
              <a:pathLst>
                <a:path w="26" h="8">
                  <a:moveTo>
                    <a:pt x="17" y="8"/>
                  </a:moveTo>
                  <a:lnTo>
                    <a:pt x="26" y="8"/>
                  </a:lnTo>
                  <a:lnTo>
                    <a:pt x="0" y="0"/>
                  </a:lnTo>
                  <a:lnTo>
                    <a:pt x="17" y="8"/>
                  </a:lnTo>
                  <a:close/>
                </a:path>
              </a:pathLst>
            </a:custGeom>
            <a:solidFill>
              <a:schemeClr val="bg1"/>
            </a:solidFill>
            <a:ln w="12700">
              <a:solidFill>
                <a:srgbClr val="000000"/>
              </a:solidFill>
              <a:round/>
              <a:headEnd/>
              <a:tailEnd/>
            </a:ln>
          </p:spPr>
          <p:txBody>
            <a:bodyPr/>
            <a:lstStyle/>
            <a:p>
              <a:endParaRPr lang="en-US"/>
            </a:p>
          </p:txBody>
        </p:sp>
        <p:sp>
          <p:nvSpPr>
            <p:cNvPr id="34877" name="Freeform 58"/>
            <p:cNvSpPr>
              <a:spLocks/>
            </p:cNvSpPr>
            <p:nvPr/>
          </p:nvSpPr>
          <p:spPr bwMode="auto">
            <a:xfrm>
              <a:off x="6230938" y="4186238"/>
              <a:ext cx="20638" cy="1588"/>
            </a:xfrm>
            <a:custGeom>
              <a:avLst/>
              <a:gdLst>
                <a:gd name="T0" fmla="*/ 2147483647 w 17"/>
                <a:gd name="T1" fmla="*/ 0 h 1"/>
                <a:gd name="T2" fmla="*/ 0 w 17"/>
                <a:gd name="T3" fmla="*/ 0 h 1"/>
                <a:gd name="T4" fmla="*/ 2147483647 w 17"/>
                <a:gd name="T5" fmla="*/ 0 h 1"/>
                <a:gd name="T6" fmla="*/ 0 60000 65536"/>
                <a:gd name="T7" fmla="*/ 0 60000 65536"/>
                <a:gd name="T8" fmla="*/ 0 60000 65536"/>
                <a:gd name="T9" fmla="*/ 0 w 17"/>
                <a:gd name="T10" fmla="*/ 0 h 1"/>
                <a:gd name="T11" fmla="*/ 17 w 17"/>
                <a:gd name="T12" fmla="*/ 1 h 1"/>
              </a:gdLst>
              <a:ahLst/>
              <a:cxnLst>
                <a:cxn ang="T6">
                  <a:pos x="T0" y="T1"/>
                </a:cxn>
                <a:cxn ang="T7">
                  <a:pos x="T2" y="T3"/>
                </a:cxn>
                <a:cxn ang="T8">
                  <a:pos x="T4" y="T5"/>
                </a:cxn>
              </a:cxnLst>
              <a:rect l="T9" t="T10" r="T11" b="T12"/>
              <a:pathLst>
                <a:path w="17" h="1">
                  <a:moveTo>
                    <a:pt x="17" y="0"/>
                  </a:moveTo>
                  <a:lnTo>
                    <a:pt x="0" y="0"/>
                  </a:lnTo>
                  <a:lnTo>
                    <a:pt x="17"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78" name="Line 59"/>
            <p:cNvSpPr>
              <a:spLocks noChangeShapeType="1"/>
            </p:cNvSpPr>
            <p:nvPr/>
          </p:nvSpPr>
          <p:spPr bwMode="auto">
            <a:xfrm flipV="1">
              <a:off x="6219825" y="4176713"/>
              <a:ext cx="31750" cy="9525"/>
            </a:xfrm>
            <a:prstGeom prst="line">
              <a:avLst/>
            </a:prstGeom>
            <a:noFill/>
            <a:ln w="1270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4879" name="Line 60"/>
            <p:cNvSpPr>
              <a:spLocks noChangeShapeType="1"/>
            </p:cNvSpPr>
            <p:nvPr/>
          </p:nvSpPr>
          <p:spPr bwMode="auto">
            <a:xfrm flipV="1">
              <a:off x="6219825" y="4176713"/>
              <a:ext cx="31750" cy="9525"/>
            </a:xfrm>
            <a:prstGeom prst="line">
              <a:avLst/>
            </a:prstGeom>
            <a:noFill/>
            <a:ln w="12700">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4880" name="Freeform 61"/>
            <p:cNvSpPr>
              <a:spLocks/>
            </p:cNvSpPr>
            <p:nvPr/>
          </p:nvSpPr>
          <p:spPr bwMode="auto">
            <a:xfrm>
              <a:off x="6189663" y="4176713"/>
              <a:ext cx="9525" cy="1588"/>
            </a:xfrm>
            <a:custGeom>
              <a:avLst/>
              <a:gdLst>
                <a:gd name="T0" fmla="*/ 0 w 8"/>
                <a:gd name="T1" fmla="*/ 0 h 1"/>
                <a:gd name="T2" fmla="*/ 2147483647 w 8"/>
                <a:gd name="T3" fmla="*/ 0 h 1"/>
                <a:gd name="T4" fmla="*/ 0 w 8"/>
                <a:gd name="T5" fmla="*/ 0 h 1"/>
                <a:gd name="T6" fmla="*/ 0 60000 65536"/>
                <a:gd name="T7" fmla="*/ 0 60000 65536"/>
                <a:gd name="T8" fmla="*/ 0 60000 65536"/>
                <a:gd name="T9" fmla="*/ 0 w 8"/>
                <a:gd name="T10" fmla="*/ 0 h 1"/>
                <a:gd name="T11" fmla="*/ 8 w 8"/>
                <a:gd name="T12" fmla="*/ 1 h 1"/>
              </a:gdLst>
              <a:ahLst/>
              <a:cxnLst>
                <a:cxn ang="T6">
                  <a:pos x="T0" y="T1"/>
                </a:cxn>
                <a:cxn ang="T7">
                  <a:pos x="T2" y="T3"/>
                </a:cxn>
                <a:cxn ang="T8">
                  <a:pos x="T4" y="T5"/>
                </a:cxn>
              </a:cxnLst>
              <a:rect l="T9" t="T10" r="T11" b="T12"/>
              <a:pathLst>
                <a:path w="8" h="1">
                  <a:moveTo>
                    <a:pt x="0" y="0"/>
                  </a:moveTo>
                  <a:lnTo>
                    <a:pt x="8" y="0"/>
                  </a:lnTo>
                  <a:lnTo>
                    <a:pt x="0"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81" name="Freeform 62"/>
            <p:cNvSpPr>
              <a:spLocks/>
            </p:cNvSpPr>
            <p:nvPr/>
          </p:nvSpPr>
          <p:spPr bwMode="auto">
            <a:xfrm>
              <a:off x="5880100" y="4060825"/>
              <a:ext cx="31750" cy="20638"/>
            </a:xfrm>
            <a:custGeom>
              <a:avLst/>
              <a:gdLst>
                <a:gd name="T0" fmla="*/ 2147483647 w 26"/>
                <a:gd name="T1" fmla="*/ 2147483647 h 16"/>
                <a:gd name="T2" fmla="*/ 0 w 26"/>
                <a:gd name="T3" fmla="*/ 0 h 16"/>
                <a:gd name="T4" fmla="*/ 0 w 26"/>
                <a:gd name="T5" fmla="*/ 2147483647 h 16"/>
                <a:gd name="T6" fmla="*/ 2147483647 w 26"/>
                <a:gd name="T7" fmla="*/ 2147483647 h 16"/>
                <a:gd name="T8" fmla="*/ 2147483647 w 26"/>
                <a:gd name="T9" fmla="*/ 2147483647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26" y="16"/>
                  </a:moveTo>
                  <a:lnTo>
                    <a:pt x="0" y="0"/>
                  </a:lnTo>
                  <a:lnTo>
                    <a:pt x="0" y="8"/>
                  </a:lnTo>
                  <a:lnTo>
                    <a:pt x="17" y="16"/>
                  </a:lnTo>
                  <a:lnTo>
                    <a:pt x="26" y="16"/>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82" name="Freeform 63"/>
            <p:cNvSpPr>
              <a:spLocks/>
            </p:cNvSpPr>
            <p:nvPr/>
          </p:nvSpPr>
          <p:spPr bwMode="auto">
            <a:xfrm>
              <a:off x="6189663" y="4176713"/>
              <a:ext cx="9525" cy="1588"/>
            </a:xfrm>
            <a:custGeom>
              <a:avLst/>
              <a:gdLst>
                <a:gd name="T0" fmla="*/ 0 w 8"/>
                <a:gd name="T1" fmla="*/ 0 h 1"/>
                <a:gd name="T2" fmla="*/ 2147483647 w 8"/>
                <a:gd name="T3" fmla="*/ 0 h 1"/>
                <a:gd name="T4" fmla="*/ 0 w 8"/>
                <a:gd name="T5" fmla="*/ 0 h 1"/>
                <a:gd name="T6" fmla="*/ 0 w 8"/>
                <a:gd name="T7" fmla="*/ 0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0" y="0"/>
                  </a:moveTo>
                  <a:lnTo>
                    <a:pt x="8" y="0"/>
                  </a:lnTo>
                  <a:lnTo>
                    <a:pt x="0" y="0"/>
                  </a:lnTo>
                  <a:close/>
                </a:path>
              </a:pathLst>
            </a:custGeom>
            <a:solidFill>
              <a:schemeClr val="bg1"/>
            </a:solidFill>
            <a:ln w="12700">
              <a:solidFill>
                <a:srgbClr val="000000"/>
              </a:solidFill>
              <a:round/>
              <a:headEnd/>
              <a:tailEnd/>
            </a:ln>
          </p:spPr>
          <p:txBody>
            <a:bodyPr/>
            <a:lstStyle/>
            <a:p>
              <a:endParaRPr lang="en-US"/>
            </a:p>
          </p:txBody>
        </p:sp>
        <p:sp>
          <p:nvSpPr>
            <p:cNvPr id="34883" name="Freeform 64"/>
            <p:cNvSpPr>
              <a:spLocks/>
            </p:cNvSpPr>
            <p:nvPr/>
          </p:nvSpPr>
          <p:spPr bwMode="auto">
            <a:xfrm>
              <a:off x="5880100" y="4060825"/>
              <a:ext cx="31750" cy="20638"/>
            </a:xfrm>
            <a:custGeom>
              <a:avLst/>
              <a:gdLst>
                <a:gd name="T0" fmla="*/ 2147483647 w 26"/>
                <a:gd name="T1" fmla="*/ 2147483647 h 16"/>
                <a:gd name="T2" fmla="*/ 0 w 26"/>
                <a:gd name="T3" fmla="*/ 0 h 16"/>
                <a:gd name="T4" fmla="*/ 0 w 26"/>
                <a:gd name="T5" fmla="*/ 2147483647 h 16"/>
                <a:gd name="T6" fmla="*/ 2147483647 w 26"/>
                <a:gd name="T7" fmla="*/ 2147483647 h 16"/>
                <a:gd name="T8" fmla="*/ 2147483647 w 26"/>
                <a:gd name="T9" fmla="*/ 2147483647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26" y="16"/>
                  </a:moveTo>
                  <a:lnTo>
                    <a:pt x="0" y="0"/>
                  </a:lnTo>
                  <a:lnTo>
                    <a:pt x="0" y="8"/>
                  </a:lnTo>
                  <a:lnTo>
                    <a:pt x="17" y="16"/>
                  </a:lnTo>
                  <a:lnTo>
                    <a:pt x="26" y="16"/>
                  </a:lnTo>
                  <a:close/>
                </a:path>
              </a:pathLst>
            </a:custGeom>
            <a:solidFill>
              <a:schemeClr val="bg1"/>
            </a:solidFill>
            <a:ln w="12700">
              <a:solidFill>
                <a:srgbClr val="000000"/>
              </a:solidFill>
              <a:round/>
              <a:headEnd/>
              <a:tailEnd/>
            </a:ln>
          </p:spPr>
          <p:txBody>
            <a:bodyPr/>
            <a:lstStyle/>
            <a:p>
              <a:endParaRPr lang="en-US"/>
            </a:p>
          </p:txBody>
        </p:sp>
        <p:sp>
          <p:nvSpPr>
            <p:cNvPr id="34884" name="Freeform 65"/>
            <p:cNvSpPr>
              <a:spLocks/>
            </p:cNvSpPr>
            <p:nvPr/>
          </p:nvSpPr>
          <p:spPr bwMode="auto">
            <a:xfrm>
              <a:off x="5694363" y="4051300"/>
              <a:ext cx="587375" cy="279400"/>
            </a:xfrm>
            <a:custGeom>
              <a:avLst/>
              <a:gdLst>
                <a:gd name="T0" fmla="*/ 2147483647 w 480"/>
                <a:gd name="T1" fmla="*/ 2147483647 h 232"/>
                <a:gd name="T2" fmla="*/ 2147483647 w 480"/>
                <a:gd name="T3" fmla="*/ 0 h 232"/>
                <a:gd name="T4" fmla="*/ 2147483647 w 480"/>
                <a:gd name="T5" fmla="*/ 0 h 232"/>
                <a:gd name="T6" fmla="*/ 2147483647 w 480"/>
                <a:gd name="T7" fmla="*/ 2147483647 h 232"/>
                <a:gd name="T8" fmla="*/ 2147483647 w 480"/>
                <a:gd name="T9" fmla="*/ 2147483647 h 232"/>
                <a:gd name="T10" fmla="*/ 2147483647 w 480"/>
                <a:gd name="T11" fmla="*/ 2147483647 h 232"/>
                <a:gd name="T12" fmla="*/ 2147483647 w 480"/>
                <a:gd name="T13" fmla="*/ 2147483647 h 232"/>
                <a:gd name="T14" fmla="*/ 2147483647 w 480"/>
                <a:gd name="T15" fmla="*/ 2147483647 h 232"/>
                <a:gd name="T16" fmla="*/ 2147483647 w 480"/>
                <a:gd name="T17" fmla="*/ 0 h 232"/>
                <a:gd name="T18" fmla="*/ 2147483647 w 480"/>
                <a:gd name="T19" fmla="*/ 2147483647 h 232"/>
                <a:gd name="T20" fmla="*/ 2147483647 w 480"/>
                <a:gd name="T21" fmla="*/ 2147483647 h 232"/>
                <a:gd name="T22" fmla="*/ 2147483647 w 480"/>
                <a:gd name="T23" fmla="*/ 2147483647 h 232"/>
                <a:gd name="T24" fmla="*/ 2147483647 w 480"/>
                <a:gd name="T25" fmla="*/ 2147483647 h 232"/>
                <a:gd name="T26" fmla="*/ 2147483647 w 480"/>
                <a:gd name="T27" fmla="*/ 2147483647 h 232"/>
                <a:gd name="T28" fmla="*/ 2147483647 w 480"/>
                <a:gd name="T29" fmla="*/ 2147483647 h 232"/>
                <a:gd name="T30" fmla="*/ 2147483647 w 480"/>
                <a:gd name="T31" fmla="*/ 2147483647 h 232"/>
                <a:gd name="T32" fmla="*/ 0 w 480"/>
                <a:gd name="T33" fmla="*/ 2147483647 h 232"/>
                <a:gd name="T34" fmla="*/ 0 w 480"/>
                <a:gd name="T35" fmla="*/ 2147483647 h 232"/>
                <a:gd name="T36" fmla="*/ 2147483647 w 480"/>
                <a:gd name="T37" fmla="*/ 2147483647 h 232"/>
                <a:gd name="T38" fmla="*/ 2147483647 w 480"/>
                <a:gd name="T39" fmla="*/ 2147483647 h 232"/>
                <a:gd name="T40" fmla="*/ 2147483647 w 480"/>
                <a:gd name="T41" fmla="*/ 2147483647 h 232"/>
                <a:gd name="T42" fmla="*/ 2147483647 w 480"/>
                <a:gd name="T43" fmla="*/ 2147483647 h 232"/>
                <a:gd name="T44" fmla="*/ 2147483647 w 480"/>
                <a:gd name="T45" fmla="*/ 2147483647 h 232"/>
                <a:gd name="T46" fmla="*/ 2147483647 w 480"/>
                <a:gd name="T47" fmla="*/ 2147483647 h 232"/>
                <a:gd name="T48" fmla="*/ 2147483647 w 480"/>
                <a:gd name="T49" fmla="*/ 2147483647 h 232"/>
                <a:gd name="T50" fmla="*/ 2147483647 w 480"/>
                <a:gd name="T51" fmla="*/ 2147483647 h 232"/>
                <a:gd name="T52" fmla="*/ 2147483647 w 480"/>
                <a:gd name="T53" fmla="*/ 2147483647 h 232"/>
                <a:gd name="T54" fmla="*/ 2147483647 w 480"/>
                <a:gd name="T55" fmla="*/ 2147483647 h 232"/>
                <a:gd name="T56" fmla="*/ 2147483647 w 480"/>
                <a:gd name="T57" fmla="*/ 2147483647 h 232"/>
                <a:gd name="T58" fmla="*/ 2147483647 w 480"/>
                <a:gd name="T59" fmla="*/ 2147483647 h 232"/>
                <a:gd name="T60" fmla="*/ 2147483647 w 480"/>
                <a:gd name="T61" fmla="*/ 2147483647 h 232"/>
                <a:gd name="T62" fmla="*/ 2147483647 w 480"/>
                <a:gd name="T63" fmla="*/ 2147483647 h 232"/>
                <a:gd name="T64" fmla="*/ 2147483647 w 480"/>
                <a:gd name="T65" fmla="*/ 2147483647 h 232"/>
                <a:gd name="T66" fmla="*/ 2147483647 w 480"/>
                <a:gd name="T67" fmla="*/ 2147483647 h 232"/>
                <a:gd name="T68" fmla="*/ 2147483647 w 480"/>
                <a:gd name="T69" fmla="*/ 2147483647 h 232"/>
                <a:gd name="T70" fmla="*/ 2147483647 w 480"/>
                <a:gd name="T71" fmla="*/ 2147483647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80"/>
                <a:gd name="T109" fmla="*/ 0 h 232"/>
                <a:gd name="T110" fmla="*/ 480 w 480"/>
                <a:gd name="T111" fmla="*/ 232 h 23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80" h="232">
                  <a:moveTo>
                    <a:pt x="421" y="8"/>
                  </a:moveTo>
                  <a:lnTo>
                    <a:pt x="396" y="0"/>
                  </a:lnTo>
                  <a:lnTo>
                    <a:pt x="353" y="0"/>
                  </a:lnTo>
                  <a:lnTo>
                    <a:pt x="328" y="16"/>
                  </a:lnTo>
                  <a:lnTo>
                    <a:pt x="294" y="16"/>
                  </a:lnTo>
                  <a:lnTo>
                    <a:pt x="269" y="40"/>
                  </a:lnTo>
                  <a:lnTo>
                    <a:pt x="244" y="40"/>
                  </a:lnTo>
                  <a:lnTo>
                    <a:pt x="236" y="24"/>
                  </a:lnTo>
                  <a:lnTo>
                    <a:pt x="210" y="0"/>
                  </a:lnTo>
                  <a:lnTo>
                    <a:pt x="177" y="24"/>
                  </a:lnTo>
                  <a:lnTo>
                    <a:pt x="168" y="24"/>
                  </a:lnTo>
                  <a:lnTo>
                    <a:pt x="151" y="16"/>
                  </a:lnTo>
                  <a:lnTo>
                    <a:pt x="126" y="32"/>
                  </a:lnTo>
                  <a:lnTo>
                    <a:pt x="101" y="56"/>
                  </a:lnTo>
                  <a:lnTo>
                    <a:pt x="67" y="104"/>
                  </a:lnTo>
                  <a:lnTo>
                    <a:pt x="25" y="104"/>
                  </a:lnTo>
                  <a:lnTo>
                    <a:pt x="0" y="136"/>
                  </a:lnTo>
                  <a:lnTo>
                    <a:pt x="0" y="176"/>
                  </a:lnTo>
                  <a:lnTo>
                    <a:pt x="33" y="200"/>
                  </a:lnTo>
                  <a:lnTo>
                    <a:pt x="25" y="208"/>
                  </a:lnTo>
                  <a:lnTo>
                    <a:pt x="42" y="216"/>
                  </a:lnTo>
                  <a:lnTo>
                    <a:pt x="67" y="232"/>
                  </a:lnTo>
                  <a:lnTo>
                    <a:pt x="185" y="216"/>
                  </a:lnTo>
                  <a:lnTo>
                    <a:pt x="185" y="184"/>
                  </a:lnTo>
                  <a:lnTo>
                    <a:pt x="236" y="168"/>
                  </a:lnTo>
                  <a:lnTo>
                    <a:pt x="244" y="152"/>
                  </a:lnTo>
                  <a:lnTo>
                    <a:pt x="286" y="160"/>
                  </a:lnTo>
                  <a:lnTo>
                    <a:pt x="328" y="112"/>
                  </a:lnTo>
                  <a:lnTo>
                    <a:pt x="362" y="112"/>
                  </a:lnTo>
                  <a:lnTo>
                    <a:pt x="404" y="104"/>
                  </a:lnTo>
                  <a:lnTo>
                    <a:pt x="412" y="104"/>
                  </a:lnTo>
                  <a:lnTo>
                    <a:pt x="438" y="112"/>
                  </a:lnTo>
                  <a:lnTo>
                    <a:pt x="455" y="112"/>
                  </a:lnTo>
                  <a:lnTo>
                    <a:pt x="463" y="64"/>
                  </a:lnTo>
                  <a:lnTo>
                    <a:pt x="480" y="16"/>
                  </a:lnTo>
                  <a:lnTo>
                    <a:pt x="421" y="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85" name="Freeform 66"/>
            <p:cNvSpPr>
              <a:spLocks/>
            </p:cNvSpPr>
            <p:nvPr/>
          </p:nvSpPr>
          <p:spPr bwMode="auto">
            <a:xfrm>
              <a:off x="5962650" y="4530725"/>
              <a:ext cx="536575" cy="604838"/>
            </a:xfrm>
            <a:custGeom>
              <a:avLst/>
              <a:gdLst>
                <a:gd name="T0" fmla="*/ 2147483647 w 438"/>
                <a:gd name="T1" fmla="*/ 2147483647 h 504"/>
                <a:gd name="T2" fmla="*/ 2147483647 w 438"/>
                <a:gd name="T3" fmla="*/ 2147483647 h 504"/>
                <a:gd name="T4" fmla="*/ 2147483647 w 438"/>
                <a:gd name="T5" fmla="*/ 2147483647 h 504"/>
                <a:gd name="T6" fmla="*/ 2147483647 w 438"/>
                <a:gd name="T7" fmla="*/ 2147483647 h 504"/>
                <a:gd name="T8" fmla="*/ 2147483647 w 438"/>
                <a:gd name="T9" fmla="*/ 2147483647 h 504"/>
                <a:gd name="T10" fmla="*/ 2147483647 w 438"/>
                <a:gd name="T11" fmla="*/ 2147483647 h 504"/>
                <a:gd name="T12" fmla="*/ 2147483647 w 438"/>
                <a:gd name="T13" fmla="*/ 2147483647 h 504"/>
                <a:gd name="T14" fmla="*/ 2147483647 w 438"/>
                <a:gd name="T15" fmla="*/ 2147483647 h 504"/>
                <a:gd name="T16" fmla="*/ 2147483647 w 438"/>
                <a:gd name="T17" fmla="*/ 2147483647 h 504"/>
                <a:gd name="T18" fmla="*/ 2147483647 w 438"/>
                <a:gd name="T19" fmla="*/ 2147483647 h 504"/>
                <a:gd name="T20" fmla="*/ 2147483647 w 438"/>
                <a:gd name="T21" fmla="*/ 2147483647 h 504"/>
                <a:gd name="T22" fmla="*/ 2147483647 w 438"/>
                <a:gd name="T23" fmla="*/ 2147483647 h 504"/>
                <a:gd name="T24" fmla="*/ 2147483647 w 438"/>
                <a:gd name="T25" fmla="*/ 2147483647 h 504"/>
                <a:gd name="T26" fmla="*/ 2147483647 w 438"/>
                <a:gd name="T27" fmla="*/ 2147483647 h 504"/>
                <a:gd name="T28" fmla="*/ 2147483647 w 438"/>
                <a:gd name="T29" fmla="*/ 2147483647 h 504"/>
                <a:gd name="T30" fmla="*/ 2147483647 w 438"/>
                <a:gd name="T31" fmla="*/ 2147483647 h 504"/>
                <a:gd name="T32" fmla="*/ 2147483647 w 438"/>
                <a:gd name="T33" fmla="*/ 2147483647 h 504"/>
                <a:gd name="T34" fmla="*/ 2147483647 w 438"/>
                <a:gd name="T35" fmla="*/ 2147483647 h 504"/>
                <a:gd name="T36" fmla="*/ 2147483647 w 438"/>
                <a:gd name="T37" fmla="*/ 2147483647 h 504"/>
                <a:gd name="T38" fmla="*/ 2147483647 w 438"/>
                <a:gd name="T39" fmla="*/ 2147483647 h 504"/>
                <a:gd name="T40" fmla="*/ 2147483647 w 438"/>
                <a:gd name="T41" fmla="*/ 2147483647 h 504"/>
                <a:gd name="T42" fmla="*/ 2147483647 w 438"/>
                <a:gd name="T43" fmla="*/ 2147483647 h 504"/>
                <a:gd name="T44" fmla="*/ 2147483647 w 438"/>
                <a:gd name="T45" fmla="*/ 2147483647 h 504"/>
                <a:gd name="T46" fmla="*/ 2147483647 w 438"/>
                <a:gd name="T47" fmla="*/ 2147483647 h 504"/>
                <a:gd name="T48" fmla="*/ 2147483647 w 438"/>
                <a:gd name="T49" fmla="*/ 2147483647 h 504"/>
                <a:gd name="T50" fmla="*/ 2147483647 w 438"/>
                <a:gd name="T51" fmla="*/ 2147483647 h 504"/>
                <a:gd name="T52" fmla="*/ 2147483647 w 438"/>
                <a:gd name="T53" fmla="*/ 2147483647 h 504"/>
                <a:gd name="T54" fmla="*/ 2147483647 w 438"/>
                <a:gd name="T55" fmla="*/ 2147483647 h 504"/>
                <a:gd name="T56" fmla="*/ 2147483647 w 438"/>
                <a:gd name="T57" fmla="*/ 2147483647 h 504"/>
                <a:gd name="T58" fmla="*/ 2147483647 w 438"/>
                <a:gd name="T59" fmla="*/ 2147483647 h 504"/>
                <a:gd name="T60" fmla="*/ 2147483647 w 438"/>
                <a:gd name="T61" fmla="*/ 0 h 504"/>
                <a:gd name="T62" fmla="*/ 2147483647 w 438"/>
                <a:gd name="T63" fmla="*/ 2147483647 h 504"/>
                <a:gd name="T64" fmla="*/ 2147483647 w 438"/>
                <a:gd name="T65" fmla="*/ 2147483647 h 504"/>
                <a:gd name="T66" fmla="*/ 2147483647 w 438"/>
                <a:gd name="T67" fmla="*/ 2147483647 h 504"/>
                <a:gd name="T68" fmla="*/ 2147483647 w 438"/>
                <a:gd name="T69" fmla="*/ 2147483647 h 504"/>
                <a:gd name="T70" fmla="*/ 0 w 438"/>
                <a:gd name="T71" fmla="*/ 2147483647 h 504"/>
                <a:gd name="T72" fmla="*/ 2147483647 w 438"/>
                <a:gd name="T73" fmla="*/ 2147483647 h 504"/>
                <a:gd name="T74" fmla="*/ 2147483647 w 438"/>
                <a:gd name="T75" fmla="*/ 2147483647 h 504"/>
                <a:gd name="T76" fmla="*/ 2147483647 w 438"/>
                <a:gd name="T77" fmla="*/ 2147483647 h 504"/>
                <a:gd name="T78" fmla="*/ 2147483647 w 438"/>
                <a:gd name="T79" fmla="*/ 2147483647 h 504"/>
                <a:gd name="T80" fmla="*/ 2147483647 w 438"/>
                <a:gd name="T81" fmla="*/ 2147483647 h 504"/>
                <a:gd name="T82" fmla="*/ 2147483647 w 438"/>
                <a:gd name="T83" fmla="*/ 2147483647 h 504"/>
                <a:gd name="T84" fmla="*/ 2147483647 w 438"/>
                <a:gd name="T85" fmla="*/ 2147483647 h 504"/>
                <a:gd name="T86" fmla="*/ 2147483647 w 438"/>
                <a:gd name="T87" fmla="*/ 2147483647 h 504"/>
                <a:gd name="T88" fmla="*/ 2147483647 w 438"/>
                <a:gd name="T89" fmla="*/ 2147483647 h 504"/>
                <a:gd name="T90" fmla="*/ 2147483647 w 438"/>
                <a:gd name="T91" fmla="*/ 2147483647 h 504"/>
                <a:gd name="T92" fmla="*/ 2147483647 w 438"/>
                <a:gd name="T93" fmla="*/ 2147483647 h 504"/>
                <a:gd name="T94" fmla="*/ 2147483647 w 438"/>
                <a:gd name="T95" fmla="*/ 2147483647 h 504"/>
                <a:gd name="T96" fmla="*/ 2147483647 w 438"/>
                <a:gd name="T97" fmla="*/ 2147483647 h 504"/>
                <a:gd name="T98" fmla="*/ 2147483647 w 438"/>
                <a:gd name="T99" fmla="*/ 2147483647 h 504"/>
                <a:gd name="T100" fmla="*/ 2147483647 w 438"/>
                <a:gd name="T101" fmla="*/ 2147483647 h 504"/>
                <a:gd name="T102" fmla="*/ 2147483647 w 438"/>
                <a:gd name="T103" fmla="*/ 2147483647 h 504"/>
                <a:gd name="T104" fmla="*/ 2147483647 w 438"/>
                <a:gd name="T105" fmla="*/ 2147483647 h 504"/>
                <a:gd name="T106" fmla="*/ 0 w 438"/>
                <a:gd name="T107" fmla="*/ 2147483647 h 504"/>
                <a:gd name="T108" fmla="*/ 2147483647 w 438"/>
                <a:gd name="T109" fmla="*/ 2147483647 h 504"/>
                <a:gd name="T110" fmla="*/ 2147483647 w 438"/>
                <a:gd name="T111" fmla="*/ 2147483647 h 504"/>
                <a:gd name="T112" fmla="*/ 2147483647 w 438"/>
                <a:gd name="T113" fmla="*/ 2147483647 h 504"/>
                <a:gd name="T114" fmla="*/ 2147483647 w 438"/>
                <a:gd name="T115" fmla="*/ 2147483647 h 504"/>
                <a:gd name="T116" fmla="*/ 2147483647 w 438"/>
                <a:gd name="T117" fmla="*/ 2147483647 h 504"/>
                <a:gd name="T118" fmla="*/ 2147483647 w 438"/>
                <a:gd name="T119" fmla="*/ 2147483647 h 5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38"/>
                <a:gd name="T181" fmla="*/ 0 h 504"/>
                <a:gd name="T182" fmla="*/ 438 w 438"/>
                <a:gd name="T183" fmla="*/ 504 h 5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38" h="504">
                  <a:moveTo>
                    <a:pt x="126" y="424"/>
                  </a:moveTo>
                  <a:lnTo>
                    <a:pt x="160" y="440"/>
                  </a:lnTo>
                  <a:lnTo>
                    <a:pt x="185" y="440"/>
                  </a:lnTo>
                  <a:lnTo>
                    <a:pt x="202" y="456"/>
                  </a:lnTo>
                  <a:lnTo>
                    <a:pt x="236" y="496"/>
                  </a:lnTo>
                  <a:lnTo>
                    <a:pt x="252" y="504"/>
                  </a:lnTo>
                  <a:lnTo>
                    <a:pt x="261" y="472"/>
                  </a:lnTo>
                  <a:lnTo>
                    <a:pt x="286" y="464"/>
                  </a:lnTo>
                  <a:lnTo>
                    <a:pt x="311" y="456"/>
                  </a:lnTo>
                  <a:lnTo>
                    <a:pt x="370" y="432"/>
                  </a:lnTo>
                  <a:lnTo>
                    <a:pt x="413" y="432"/>
                  </a:lnTo>
                  <a:lnTo>
                    <a:pt x="421" y="400"/>
                  </a:lnTo>
                  <a:lnTo>
                    <a:pt x="404" y="392"/>
                  </a:lnTo>
                  <a:lnTo>
                    <a:pt x="404" y="360"/>
                  </a:lnTo>
                  <a:lnTo>
                    <a:pt x="421" y="352"/>
                  </a:lnTo>
                  <a:lnTo>
                    <a:pt x="438" y="312"/>
                  </a:lnTo>
                  <a:lnTo>
                    <a:pt x="396" y="280"/>
                  </a:lnTo>
                  <a:lnTo>
                    <a:pt x="379" y="248"/>
                  </a:lnTo>
                  <a:lnTo>
                    <a:pt x="370" y="216"/>
                  </a:lnTo>
                  <a:lnTo>
                    <a:pt x="387" y="184"/>
                  </a:lnTo>
                  <a:lnTo>
                    <a:pt x="370" y="176"/>
                  </a:lnTo>
                  <a:lnTo>
                    <a:pt x="370" y="136"/>
                  </a:lnTo>
                  <a:lnTo>
                    <a:pt x="328" y="160"/>
                  </a:lnTo>
                  <a:lnTo>
                    <a:pt x="286" y="144"/>
                  </a:lnTo>
                  <a:lnTo>
                    <a:pt x="244" y="136"/>
                  </a:lnTo>
                  <a:lnTo>
                    <a:pt x="261" y="104"/>
                  </a:lnTo>
                  <a:lnTo>
                    <a:pt x="219" y="88"/>
                  </a:lnTo>
                  <a:lnTo>
                    <a:pt x="185" y="64"/>
                  </a:lnTo>
                  <a:lnTo>
                    <a:pt x="177" y="40"/>
                  </a:lnTo>
                  <a:lnTo>
                    <a:pt x="143" y="16"/>
                  </a:lnTo>
                  <a:lnTo>
                    <a:pt x="126" y="0"/>
                  </a:lnTo>
                  <a:lnTo>
                    <a:pt x="118" y="8"/>
                  </a:lnTo>
                  <a:lnTo>
                    <a:pt x="67" y="8"/>
                  </a:lnTo>
                  <a:lnTo>
                    <a:pt x="33" y="24"/>
                  </a:lnTo>
                  <a:lnTo>
                    <a:pt x="8" y="24"/>
                  </a:lnTo>
                  <a:lnTo>
                    <a:pt x="0" y="48"/>
                  </a:lnTo>
                  <a:lnTo>
                    <a:pt x="8" y="80"/>
                  </a:lnTo>
                  <a:lnTo>
                    <a:pt x="33" y="112"/>
                  </a:lnTo>
                  <a:lnTo>
                    <a:pt x="59" y="120"/>
                  </a:lnTo>
                  <a:lnTo>
                    <a:pt x="33" y="128"/>
                  </a:lnTo>
                  <a:lnTo>
                    <a:pt x="33" y="160"/>
                  </a:lnTo>
                  <a:lnTo>
                    <a:pt x="8" y="152"/>
                  </a:lnTo>
                  <a:lnTo>
                    <a:pt x="17" y="168"/>
                  </a:lnTo>
                  <a:lnTo>
                    <a:pt x="50" y="168"/>
                  </a:lnTo>
                  <a:lnTo>
                    <a:pt x="50" y="200"/>
                  </a:lnTo>
                  <a:lnTo>
                    <a:pt x="59" y="232"/>
                  </a:lnTo>
                  <a:lnTo>
                    <a:pt x="101" y="256"/>
                  </a:lnTo>
                  <a:lnTo>
                    <a:pt x="75" y="272"/>
                  </a:lnTo>
                  <a:lnTo>
                    <a:pt x="101" y="312"/>
                  </a:lnTo>
                  <a:lnTo>
                    <a:pt x="50" y="328"/>
                  </a:lnTo>
                  <a:lnTo>
                    <a:pt x="59" y="352"/>
                  </a:lnTo>
                  <a:lnTo>
                    <a:pt x="33" y="352"/>
                  </a:lnTo>
                  <a:lnTo>
                    <a:pt x="25" y="384"/>
                  </a:lnTo>
                  <a:lnTo>
                    <a:pt x="0" y="400"/>
                  </a:lnTo>
                  <a:lnTo>
                    <a:pt x="8" y="416"/>
                  </a:lnTo>
                  <a:lnTo>
                    <a:pt x="8" y="456"/>
                  </a:lnTo>
                  <a:lnTo>
                    <a:pt x="17" y="456"/>
                  </a:lnTo>
                  <a:lnTo>
                    <a:pt x="101" y="504"/>
                  </a:lnTo>
                  <a:lnTo>
                    <a:pt x="101" y="496"/>
                  </a:lnTo>
                  <a:lnTo>
                    <a:pt x="126" y="4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86" name="Freeform 67"/>
            <p:cNvSpPr>
              <a:spLocks/>
            </p:cNvSpPr>
            <p:nvPr/>
          </p:nvSpPr>
          <p:spPr bwMode="auto">
            <a:xfrm>
              <a:off x="5694363" y="4051300"/>
              <a:ext cx="587375" cy="279400"/>
            </a:xfrm>
            <a:custGeom>
              <a:avLst/>
              <a:gdLst>
                <a:gd name="T0" fmla="*/ 2147483647 w 480"/>
                <a:gd name="T1" fmla="*/ 2147483647 h 232"/>
                <a:gd name="T2" fmla="*/ 2147483647 w 480"/>
                <a:gd name="T3" fmla="*/ 0 h 232"/>
                <a:gd name="T4" fmla="*/ 2147483647 w 480"/>
                <a:gd name="T5" fmla="*/ 0 h 232"/>
                <a:gd name="T6" fmla="*/ 2147483647 w 480"/>
                <a:gd name="T7" fmla="*/ 2147483647 h 232"/>
                <a:gd name="T8" fmla="*/ 2147483647 w 480"/>
                <a:gd name="T9" fmla="*/ 2147483647 h 232"/>
                <a:gd name="T10" fmla="*/ 2147483647 w 480"/>
                <a:gd name="T11" fmla="*/ 2147483647 h 232"/>
                <a:gd name="T12" fmla="*/ 2147483647 w 480"/>
                <a:gd name="T13" fmla="*/ 2147483647 h 232"/>
                <a:gd name="T14" fmla="*/ 2147483647 w 480"/>
                <a:gd name="T15" fmla="*/ 2147483647 h 232"/>
                <a:gd name="T16" fmla="*/ 2147483647 w 480"/>
                <a:gd name="T17" fmla="*/ 0 h 232"/>
                <a:gd name="T18" fmla="*/ 2147483647 w 480"/>
                <a:gd name="T19" fmla="*/ 2147483647 h 232"/>
                <a:gd name="T20" fmla="*/ 2147483647 w 480"/>
                <a:gd name="T21" fmla="*/ 2147483647 h 232"/>
                <a:gd name="T22" fmla="*/ 2147483647 w 480"/>
                <a:gd name="T23" fmla="*/ 2147483647 h 232"/>
                <a:gd name="T24" fmla="*/ 2147483647 w 480"/>
                <a:gd name="T25" fmla="*/ 2147483647 h 232"/>
                <a:gd name="T26" fmla="*/ 2147483647 w 480"/>
                <a:gd name="T27" fmla="*/ 2147483647 h 232"/>
                <a:gd name="T28" fmla="*/ 2147483647 w 480"/>
                <a:gd name="T29" fmla="*/ 2147483647 h 232"/>
                <a:gd name="T30" fmla="*/ 2147483647 w 480"/>
                <a:gd name="T31" fmla="*/ 2147483647 h 232"/>
                <a:gd name="T32" fmla="*/ 0 w 480"/>
                <a:gd name="T33" fmla="*/ 2147483647 h 232"/>
                <a:gd name="T34" fmla="*/ 0 w 480"/>
                <a:gd name="T35" fmla="*/ 2147483647 h 232"/>
                <a:gd name="T36" fmla="*/ 2147483647 w 480"/>
                <a:gd name="T37" fmla="*/ 2147483647 h 232"/>
                <a:gd name="T38" fmla="*/ 2147483647 w 480"/>
                <a:gd name="T39" fmla="*/ 2147483647 h 232"/>
                <a:gd name="T40" fmla="*/ 2147483647 w 480"/>
                <a:gd name="T41" fmla="*/ 2147483647 h 232"/>
                <a:gd name="T42" fmla="*/ 2147483647 w 480"/>
                <a:gd name="T43" fmla="*/ 2147483647 h 232"/>
                <a:gd name="T44" fmla="*/ 2147483647 w 480"/>
                <a:gd name="T45" fmla="*/ 2147483647 h 232"/>
                <a:gd name="T46" fmla="*/ 2147483647 w 480"/>
                <a:gd name="T47" fmla="*/ 2147483647 h 232"/>
                <a:gd name="T48" fmla="*/ 2147483647 w 480"/>
                <a:gd name="T49" fmla="*/ 2147483647 h 232"/>
                <a:gd name="T50" fmla="*/ 2147483647 w 480"/>
                <a:gd name="T51" fmla="*/ 2147483647 h 232"/>
                <a:gd name="T52" fmla="*/ 2147483647 w 480"/>
                <a:gd name="T53" fmla="*/ 2147483647 h 232"/>
                <a:gd name="T54" fmla="*/ 2147483647 w 480"/>
                <a:gd name="T55" fmla="*/ 2147483647 h 232"/>
                <a:gd name="T56" fmla="*/ 2147483647 w 480"/>
                <a:gd name="T57" fmla="*/ 2147483647 h 232"/>
                <a:gd name="T58" fmla="*/ 2147483647 w 480"/>
                <a:gd name="T59" fmla="*/ 2147483647 h 232"/>
                <a:gd name="T60" fmla="*/ 2147483647 w 480"/>
                <a:gd name="T61" fmla="*/ 2147483647 h 232"/>
                <a:gd name="T62" fmla="*/ 2147483647 w 480"/>
                <a:gd name="T63" fmla="*/ 2147483647 h 232"/>
                <a:gd name="T64" fmla="*/ 2147483647 w 480"/>
                <a:gd name="T65" fmla="*/ 2147483647 h 232"/>
                <a:gd name="T66" fmla="*/ 2147483647 w 480"/>
                <a:gd name="T67" fmla="*/ 2147483647 h 232"/>
                <a:gd name="T68" fmla="*/ 2147483647 w 480"/>
                <a:gd name="T69" fmla="*/ 2147483647 h 232"/>
                <a:gd name="T70" fmla="*/ 2147483647 w 480"/>
                <a:gd name="T71" fmla="*/ 2147483647 h 232"/>
                <a:gd name="T72" fmla="*/ 2147483647 w 480"/>
                <a:gd name="T73" fmla="*/ 2147483647 h 2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0"/>
                <a:gd name="T112" fmla="*/ 0 h 232"/>
                <a:gd name="T113" fmla="*/ 480 w 480"/>
                <a:gd name="T114" fmla="*/ 232 h 2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0" h="232">
                  <a:moveTo>
                    <a:pt x="421" y="8"/>
                  </a:moveTo>
                  <a:lnTo>
                    <a:pt x="396" y="0"/>
                  </a:lnTo>
                  <a:lnTo>
                    <a:pt x="353" y="0"/>
                  </a:lnTo>
                  <a:lnTo>
                    <a:pt x="328" y="16"/>
                  </a:lnTo>
                  <a:lnTo>
                    <a:pt x="294" y="16"/>
                  </a:lnTo>
                  <a:lnTo>
                    <a:pt x="269" y="40"/>
                  </a:lnTo>
                  <a:lnTo>
                    <a:pt x="244" y="40"/>
                  </a:lnTo>
                  <a:lnTo>
                    <a:pt x="236" y="24"/>
                  </a:lnTo>
                  <a:lnTo>
                    <a:pt x="210" y="0"/>
                  </a:lnTo>
                  <a:lnTo>
                    <a:pt x="177" y="24"/>
                  </a:lnTo>
                  <a:lnTo>
                    <a:pt x="168" y="24"/>
                  </a:lnTo>
                  <a:lnTo>
                    <a:pt x="151" y="16"/>
                  </a:lnTo>
                  <a:lnTo>
                    <a:pt x="126" y="32"/>
                  </a:lnTo>
                  <a:lnTo>
                    <a:pt x="101" y="56"/>
                  </a:lnTo>
                  <a:lnTo>
                    <a:pt x="67" y="104"/>
                  </a:lnTo>
                  <a:lnTo>
                    <a:pt x="25" y="104"/>
                  </a:lnTo>
                  <a:lnTo>
                    <a:pt x="0" y="136"/>
                  </a:lnTo>
                  <a:lnTo>
                    <a:pt x="0" y="176"/>
                  </a:lnTo>
                  <a:lnTo>
                    <a:pt x="33" y="200"/>
                  </a:lnTo>
                  <a:lnTo>
                    <a:pt x="25" y="208"/>
                  </a:lnTo>
                  <a:lnTo>
                    <a:pt x="42" y="216"/>
                  </a:lnTo>
                  <a:lnTo>
                    <a:pt x="67" y="232"/>
                  </a:lnTo>
                  <a:lnTo>
                    <a:pt x="185" y="216"/>
                  </a:lnTo>
                  <a:lnTo>
                    <a:pt x="185" y="184"/>
                  </a:lnTo>
                  <a:lnTo>
                    <a:pt x="236" y="168"/>
                  </a:lnTo>
                  <a:lnTo>
                    <a:pt x="244" y="152"/>
                  </a:lnTo>
                  <a:lnTo>
                    <a:pt x="286" y="160"/>
                  </a:lnTo>
                  <a:lnTo>
                    <a:pt x="328" y="112"/>
                  </a:lnTo>
                  <a:lnTo>
                    <a:pt x="362" y="112"/>
                  </a:lnTo>
                  <a:lnTo>
                    <a:pt x="404" y="104"/>
                  </a:lnTo>
                  <a:lnTo>
                    <a:pt x="412" y="104"/>
                  </a:lnTo>
                  <a:lnTo>
                    <a:pt x="438" y="112"/>
                  </a:lnTo>
                  <a:lnTo>
                    <a:pt x="455" y="112"/>
                  </a:lnTo>
                  <a:lnTo>
                    <a:pt x="463" y="64"/>
                  </a:lnTo>
                  <a:lnTo>
                    <a:pt x="480" y="16"/>
                  </a:lnTo>
                  <a:lnTo>
                    <a:pt x="421" y="8"/>
                  </a:lnTo>
                  <a:close/>
                </a:path>
              </a:pathLst>
            </a:custGeom>
            <a:solidFill>
              <a:schemeClr val="bg1"/>
            </a:solidFill>
            <a:ln w="12700">
              <a:solidFill>
                <a:srgbClr val="000000"/>
              </a:solidFill>
              <a:round/>
              <a:headEnd/>
              <a:tailEnd/>
            </a:ln>
          </p:spPr>
          <p:txBody>
            <a:bodyPr/>
            <a:lstStyle/>
            <a:p>
              <a:endParaRPr lang="en-US"/>
            </a:p>
          </p:txBody>
        </p:sp>
        <p:sp>
          <p:nvSpPr>
            <p:cNvPr id="34887" name="Freeform 68"/>
            <p:cNvSpPr>
              <a:spLocks/>
            </p:cNvSpPr>
            <p:nvPr/>
          </p:nvSpPr>
          <p:spPr bwMode="auto">
            <a:xfrm>
              <a:off x="5962650" y="4530725"/>
              <a:ext cx="536575" cy="604838"/>
            </a:xfrm>
            <a:custGeom>
              <a:avLst/>
              <a:gdLst>
                <a:gd name="T0" fmla="*/ 2147483647 w 438"/>
                <a:gd name="T1" fmla="*/ 2147483647 h 504"/>
                <a:gd name="T2" fmla="*/ 2147483647 w 438"/>
                <a:gd name="T3" fmla="*/ 2147483647 h 504"/>
                <a:gd name="T4" fmla="*/ 2147483647 w 438"/>
                <a:gd name="T5" fmla="*/ 2147483647 h 504"/>
                <a:gd name="T6" fmla="*/ 2147483647 w 438"/>
                <a:gd name="T7" fmla="*/ 2147483647 h 504"/>
                <a:gd name="T8" fmla="*/ 2147483647 w 438"/>
                <a:gd name="T9" fmla="*/ 2147483647 h 504"/>
                <a:gd name="T10" fmla="*/ 2147483647 w 438"/>
                <a:gd name="T11" fmla="*/ 2147483647 h 504"/>
                <a:gd name="T12" fmla="*/ 2147483647 w 438"/>
                <a:gd name="T13" fmla="*/ 2147483647 h 504"/>
                <a:gd name="T14" fmla="*/ 2147483647 w 438"/>
                <a:gd name="T15" fmla="*/ 2147483647 h 504"/>
                <a:gd name="T16" fmla="*/ 2147483647 w 438"/>
                <a:gd name="T17" fmla="*/ 2147483647 h 504"/>
                <a:gd name="T18" fmla="*/ 2147483647 w 438"/>
                <a:gd name="T19" fmla="*/ 2147483647 h 504"/>
                <a:gd name="T20" fmla="*/ 2147483647 w 438"/>
                <a:gd name="T21" fmla="*/ 2147483647 h 504"/>
                <a:gd name="T22" fmla="*/ 2147483647 w 438"/>
                <a:gd name="T23" fmla="*/ 2147483647 h 504"/>
                <a:gd name="T24" fmla="*/ 2147483647 w 438"/>
                <a:gd name="T25" fmla="*/ 2147483647 h 504"/>
                <a:gd name="T26" fmla="*/ 2147483647 w 438"/>
                <a:gd name="T27" fmla="*/ 2147483647 h 504"/>
                <a:gd name="T28" fmla="*/ 2147483647 w 438"/>
                <a:gd name="T29" fmla="*/ 2147483647 h 504"/>
                <a:gd name="T30" fmla="*/ 2147483647 w 438"/>
                <a:gd name="T31" fmla="*/ 2147483647 h 504"/>
                <a:gd name="T32" fmla="*/ 2147483647 w 438"/>
                <a:gd name="T33" fmla="*/ 2147483647 h 504"/>
                <a:gd name="T34" fmla="*/ 2147483647 w 438"/>
                <a:gd name="T35" fmla="*/ 2147483647 h 504"/>
                <a:gd name="T36" fmla="*/ 2147483647 w 438"/>
                <a:gd name="T37" fmla="*/ 2147483647 h 504"/>
                <a:gd name="T38" fmla="*/ 2147483647 w 438"/>
                <a:gd name="T39" fmla="*/ 2147483647 h 504"/>
                <a:gd name="T40" fmla="*/ 2147483647 w 438"/>
                <a:gd name="T41" fmla="*/ 2147483647 h 504"/>
                <a:gd name="T42" fmla="*/ 2147483647 w 438"/>
                <a:gd name="T43" fmla="*/ 2147483647 h 504"/>
                <a:gd name="T44" fmla="*/ 2147483647 w 438"/>
                <a:gd name="T45" fmla="*/ 2147483647 h 504"/>
                <a:gd name="T46" fmla="*/ 2147483647 w 438"/>
                <a:gd name="T47" fmla="*/ 2147483647 h 504"/>
                <a:gd name="T48" fmla="*/ 2147483647 w 438"/>
                <a:gd name="T49" fmla="*/ 2147483647 h 504"/>
                <a:gd name="T50" fmla="*/ 2147483647 w 438"/>
                <a:gd name="T51" fmla="*/ 2147483647 h 504"/>
                <a:gd name="T52" fmla="*/ 2147483647 w 438"/>
                <a:gd name="T53" fmla="*/ 2147483647 h 504"/>
                <a:gd name="T54" fmla="*/ 2147483647 w 438"/>
                <a:gd name="T55" fmla="*/ 2147483647 h 504"/>
                <a:gd name="T56" fmla="*/ 2147483647 w 438"/>
                <a:gd name="T57" fmla="*/ 2147483647 h 504"/>
                <a:gd name="T58" fmla="*/ 2147483647 w 438"/>
                <a:gd name="T59" fmla="*/ 2147483647 h 504"/>
                <a:gd name="T60" fmla="*/ 2147483647 w 438"/>
                <a:gd name="T61" fmla="*/ 0 h 504"/>
                <a:gd name="T62" fmla="*/ 2147483647 w 438"/>
                <a:gd name="T63" fmla="*/ 2147483647 h 504"/>
                <a:gd name="T64" fmla="*/ 2147483647 w 438"/>
                <a:gd name="T65" fmla="*/ 2147483647 h 504"/>
                <a:gd name="T66" fmla="*/ 2147483647 w 438"/>
                <a:gd name="T67" fmla="*/ 2147483647 h 504"/>
                <a:gd name="T68" fmla="*/ 2147483647 w 438"/>
                <a:gd name="T69" fmla="*/ 2147483647 h 504"/>
                <a:gd name="T70" fmla="*/ 0 w 438"/>
                <a:gd name="T71" fmla="*/ 2147483647 h 504"/>
                <a:gd name="T72" fmla="*/ 2147483647 w 438"/>
                <a:gd name="T73" fmla="*/ 2147483647 h 504"/>
                <a:gd name="T74" fmla="*/ 2147483647 w 438"/>
                <a:gd name="T75" fmla="*/ 2147483647 h 504"/>
                <a:gd name="T76" fmla="*/ 2147483647 w 438"/>
                <a:gd name="T77" fmla="*/ 2147483647 h 504"/>
                <a:gd name="T78" fmla="*/ 2147483647 w 438"/>
                <a:gd name="T79" fmla="*/ 2147483647 h 504"/>
                <a:gd name="T80" fmla="*/ 2147483647 w 438"/>
                <a:gd name="T81" fmla="*/ 2147483647 h 504"/>
                <a:gd name="T82" fmla="*/ 2147483647 w 438"/>
                <a:gd name="T83" fmla="*/ 2147483647 h 504"/>
                <a:gd name="T84" fmla="*/ 2147483647 w 438"/>
                <a:gd name="T85" fmla="*/ 2147483647 h 504"/>
                <a:gd name="T86" fmla="*/ 2147483647 w 438"/>
                <a:gd name="T87" fmla="*/ 2147483647 h 504"/>
                <a:gd name="T88" fmla="*/ 2147483647 w 438"/>
                <a:gd name="T89" fmla="*/ 2147483647 h 504"/>
                <a:gd name="T90" fmla="*/ 2147483647 w 438"/>
                <a:gd name="T91" fmla="*/ 2147483647 h 504"/>
                <a:gd name="T92" fmla="*/ 2147483647 w 438"/>
                <a:gd name="T93" fmla="*/ 2147483647 h 504"/>
                <a:gd name="T94" fmla="*/ 2147483647 w 438"/>
                <a:gd name="T95" fmla="*/ 2147483647 h 504"/>
                <a:gd name="T96" fmla="*/ 2147483647 w 438"/>
                <a:gd name="T97" fmla="*/ 2147483647 h 504"/>
                <a:gd name="T98" fmla="*/ 2147483647 w 438"/>
                <a:gd name="T99" fmla="*/ 2147483647 h 504"/>
                <a:gd name="T100" fmla="*/ 2147483647 w 438"/>
                <a:gd name="T101" fmla="*/ 2147483647 h 504"/>
                <a:gd name="T102" fmla="*/ 2147483647 w 438"/>
                <a:gd name="T103" fmla="*/ 2147483647 h 504"/>
                <a:gd name="T104" fmla="*/ 2147483647 w 438"/>
                <a:gd name="T105" fmla="*/ 2147483647 h 504"/>
                <a:gd name="T106" fmla="*/ 0 w 438"/>
                <a:gd name="T107" fmla="*/ 2147483647 h 504"/>
                <a:gd name="T108" fmla="*/ 2147483647 w 438"/>
                <a:gd name="T109" fmla="*/ 2147483647 h 504"/>
                <a:gd name="T110" fmla="*/ 2147483647 w 438"/>
                <a:gd name="T111" fmla="*/ 2147483647 h 504"/>
                <a:gd name="T112" fmla="*/ 2147483647 w 438"/>
                <a:gd name="T113" fmla="*/ 2147483647 h 504"/>
                <a:gd name="T114" fmla="*/ 2147483647 w 438"/>
                <a:gd name="T115" fmla="*/ 2147483647 h 504"/>
                <a:gd name="T116" fmla="*/ 2147483647 w 438"/>
                <a:gd name="T117" fmla="*/ 2147483647 h 504"/>
                <a:gd name="T118" fmla="*/ 2147483647 w 438"/>
                <a:gd name="T119" fmla="*/ 2147483647 h 5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38"/>
                <a:gd name="T181" fmla="*/ 0 h 504"/>
                <a:gd name="T182" fmla="*/ 438 w 438"/>
                <a:gd name="T183" fmla="*/ 504 h 5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38" h="504">
                  <a:moveTo>
                    <a:pt x="126" y="424"/>
                  </a:moveTo>
                  <a:lnTo>
                    <a:pt x="160" y="440"/>
                  </a:lnTo>
                  <a:lnTo>
                    <a:pt x="185" y="440"/>
                  </a:lnTo>
                  <a:lnTo>
                    <a:pt x="202" y="456"/>
                  </a:lnTo>
                  <a:lnTo>
                    <a:pt x="236" y="496"/>
                  </a:lnTo>
                  <a:lnTo>
                    <a:pt x="252" y="504"/>
                  </a:lnTo>
                  <a:lnTo>
                    <a:pt x="261" y="472"/>
                  </a:lnTo>
                  <a:lnTo>
                    <a:pt x="286" y="464"/>
                  </a:lnTo>
                  <a:lnTo>
                    <a:pt x="311" y="456"/>
                  </a:lnTo>
                  <a:lnTo>
                    <a:pt x="370" y="432"/>
                  </a:lnTo>
                  <a:lnTo>
                    <a:pt x="413" y="432"/>
                  </a:lnTo>
                  <a:lnTo>
                    <a:pt x="421" y="400"/>
                  </a:lnTo>
                  <a:lnTo>
                    <a:pt x="404" y="392"/>
                  </a:lnTo>
                  <a:lnTo>
                    <a:pt x="404" y="360"/>
                  </a:lnTo>
                  <a:lnTo>
                    <a:pt x="421" y="352"/>
                  </a:lnTo>
                  <a:lnTo>
                    <a:pt x="438" y="312"/>
                  </a:lnTo>
                  <a:lnTo>
                    <a:pt x="396" y="280"/>
                  </a:lnTo>
                  <a:lnTo>
                    <a:pt x="379" y="248"/>
                  </a:lnTo>
                  <a:lnTo>
                    <a:pt x="370" y="216"/>
                  </a:lnTo>
                  <a:lnTo>
                    <a:pt x="387" y="184"/>
                  </a:lnTo>
                  <a:lnTo>
                    <a:pt x="370" y="176"/>
                  </a:lnTo>
                  <a:lnTo>
                    <a:pt x="370" y="136"/>
                  </a:lnTo>
                  <a:lnTo>
                    <a:pt x="328" y="160"/>
                  </a:lnTo>
                  <a:lnTo>
                    <a:pt x="286" y="144"/>
                  </a:lnTo>
                  <a:lnTo>
                    <a:pt x="244" y="136"/>
                  </a:lnTo>
                  <a:lnTo>
                    <a:pt x="261" y="104"/>
                  </a:lnTo>
                  <a:lnTo>
                    <a:pt x="219" y="88"/>
                  </a:lnTo>
                  <a:lnTo>
                    <a:pt x="185" y="64"/>
                  </a:lnTo>
                  <a:lnTo>
                    <a:pt x="177" y="40"/>
                  </a:lnTo>
                  <a:lnTo>
                    <a:pt x="143" y="16"/>
                  </a:lnTo>
                  <a:lnTo>
                    <a:pt x="126" y="0"/>
                  </a:lnTo>
                  <a:lnTo>
                    <a:pt x="118" y="8"/>
                  </a:lnTo>
                  <a:lnTo>
                    <a:pt x="67" y="8"/>
                  </a:lnTo>
                  <a:lnTo>
                    <a:pt x="33" y="24"/>
                  </a:lnTo>
                  <a:lnTo>
                    <a:pt x="8" y="24"/>
                  </a:lnTo>
                  <a:lnTo>
                    <a:pt x="0" y="48"/>
                  </a:lnTo>
                  <a:lnTo>
                    <a:pt x="8" y="80"/>
                  </a:lnTo>
                  <a:lnTo>
                    <a:pt x="33" y="112"/>
                  </a:lnTo>
                  <a:lnTo>
                    <a:pt x="59" y="120"/>
                  </a:lnTo>
                  <a:lnTo>
                    <a:pt x="33" y="128"/>
                  </a:lnTo>
                  <a:lnTo>
                    <a:pt x="33" y="160"/>
                  </a:lnTo>
                  <a:lnTo>
                    <a:pt x="8" y="152"/>
                  </a:lnTo>
                  <a:lnTo>
                    <a:pt x="17" y="168"/>
                  </a:lnTo>
                  <a:lnTo>
                    <a:pt x="50" y="168"/>
                  </a:lnTo>
                  <a:lnTo>
                    <a:pt x="50" y="200"/>
                  </a:lnTo>
                  <a:lnTo>
                    <a:pt x="59" y="232"/>
                  </a:lnTo>
                  <a:lnTo>
                    <a:pt x="101" y="256"/>
                  </a:lnTo>
                  <a:lnTo>
                    <a:pt x="75" y="272"/>
                  </a:lnTo>
                  <a:lnTo>
                    <a:pt x="101" y="312"/>
                  </a:lnTo>
                  <a:lnTo>
                    <a:pt x="50" y="328"/>
                  </a:lnTo>
                  <a:lnTo>
                    <a:pt x="59" y="352"/>
                  </a:lnTo>
                  <a:lnTo>
                    <a:pt x="33" y="352"/>
                  </a:lnTo>
                  <a:lnTo>
                    <a:pt x="25" y="384"/>
                  </a:lnTo>
                  <a:lnTo>
                    <a:pt x="0" y="400"/>
                  </a:lnTo>
                  <a:lnTo>
                    <a:pt x="8" y="416"/>
                  </a:lnTo>
                  <a:lnTo>
                    <a:pt x="8" y="456"/>
                  </a:lnTo>
                  <a:lnTo>
                    <a:pt x="17" y="456"/>
                  </a:lnTo>
                  <a:lnTo>
                    <a:pt x="101" y="504"/>
                  </a:lnTo>
                  <a:lnTo>
                    <a:pt x="101" y="496"/>
                  </a:lnTo>
                  <a:lnTo>
                    <a:pt x="126" y="424"/>
                  </a:lnTo>
                  <a:close/>
                </a:path>
              </a:pathLst>
            </a:custGeom>
            <a:solidFill>
              <a:schemeClr val="bg1"/>
            </a:solidFill>
            <a:ln w="12700">
              <a:solidFill>
                <a:srgbClr val="000000"/>
              </a:solidFill>
              <a:round/>
              <a:headEnd/>
              <a:tailEnd/>
            </a:ln>
          </p:spPr>
          <p:txBody>
            <a:bodyPr/>
            <a:lstStyle/>
            <a:p>
              <a:endParaRPr lang="en-US"/>
            </a:p>
          </p:txBody>
        </p:sp>
        <p:sp>
          <p:nvSpPr>
            <p:cNvPr id="34888" name="Freeform 69"/>
            <p:cNvSpPr>
              <a:spLocks/>
            </p:cNvSpPr>
            <p:nvPr/>
          </p:nvSpPr>
          <p:spPr bwMode="auto">
            <a:xfrm>
              <a:off x="6086475" y="5038725"/>
              <a:ext cx="257175" cy="422275"/>
            </a:xfrm>
            <a:custGeom>
              <a:avLst/>
              <a:gdLst>
                <a:gd name="T0" fmla="*/ 2147483647 w 210"/>
                <a:gd name="T1" fmla="*/ 2147483647 h 352"/>
                <a:gd name="T2" fmla="*/ 2147483647 w 210"/>
                <a:gd name="T3" fmla="*/ 2147483647 h 352"/>
                <a:gd name="T4" fmla="*/ 2147483647 w 210"/>
                <a:gd name="T5" fmla="*/ 2147483647 h 352"/>
                <a:gd name="T6" fmla="*/ 2147483647 w 210"/>
                <a:gd name="T7" fmla="*/ 2147483647 h 352"/>
                <a:gd name="T8" fmla="*/ 2147483647 w 210"/>
                <a:gd name="T9" fmla="*/ 2147483647 h 352"/>
                <a:gd name="T10" fmla="*/ 2147483647 w 210"/>
                <a:gd name="T11" fmla="*/ 2147483647 h 352"/>
                <a:gd name="T12" fmla="*/ 2147483647 w 210"/>
                <a:gd name="T13" fmla="*/ 2147483647 h 352"/>
                <a:gd name="T14" fmla="*/ 2147483647 w 210"/>
                <a:gd name="T15" fmla="*/ 2147483647 h 352"/>
                <a:gd name="T16" fmla="*/ 2147483647 w 210"/>
                <a:gd name="T17" fmla="*/ 2147483647 h 352"/>
                <a:gd name="T18" fmla="*/ 2147483647 w 210"/>
                <a:gd name="T19" fmla="*/ 2147483647 h 352"/>
                <a:gd name="T20" fmla="*/ 2147483647 w 210"/>
                <a:gd name="T21" fmla="*/ 2147483647 h 352"/>
                <a:gd name="T22" fmla="*/ 2147483647 w 210"/>
                <a:gd name="T23" fmla="*/ 2147483647 h 352"/>
                <a:gd name="T24" fmla="*/ 2147483647 w 210"/>
                <a:gd name="T25" fmla="*/ 0 h 352"/>
                <a:gd name="T26" fmla="*/ 0 w 210"/>
                <a:gd name="T27" fmla="*/ 2147483647 h 352"/>
                <a:gd name="T28" fmla="*/ 0 w 210"/>
                <a:gd name="T29" fmla="*/ 2147483647 h 352"/>
                <a:gd name="T30" fmla="*/ 2147483647 w 210"/>
                <a:gd name="T31" fmla="*/ 2147483647 h 352"/>
                <a:gd name="T32" fmla="*/ 2147483647 w 210"/>
                <a:gd name="T33" fmla="*/ 2147483647 h 352"/>
                <a:gd name="T34" fmla="*/ 2147483647 w 210"/>
                <a:gd name="T35" fmla="*/ 2147483647 h 352"/>
                <a:gd name="T36" fmla="*/ 2147483647 w 210"/>
                <a:gd name="T37" fmla="*/ 2147483647 h 352"/>
                <a:gd name="T38" fmla="*/ 2147483647 w 210"/>
                <a:gd name="T39" fmla="*/ 2147483647 h 352"/>
                <a:gd name="T40" fmla="*/ 2147483647 w 210"/>
                <a:gd name="T41" fmla="*/ 2147483647 h 352"/>
                <a:gd name="T42" fmla="*/ 2147483647 w 210"/>
                <a:gd name="T43" fmla="*/ 2147483647 h 352"/>
                <a:gd name="T44" fmla="*/ 2147483647 w 210"/>
                <a:gd name="T45" fmla="*/ 2147483647 h 352"/>
                <a:gd name="T46" fmla="*/ 2147483647 w 210"/>
                <a:gd name="T47" fmla="*/ 2147483647 h 352"/>
                <a:gd name="T48" fmla="*/ 2147483647 w 210"/>
                <a:gd name="T49" fmla="*/ 2147483647 h 3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0"/>
                <a:gd name="T76" fmla="*/ 0 h 352"/>
                <a:gd name="T77" fmla="*/ 210 w 210"/>
                <a:gd name="T78" fmla="*/ 352 h 3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0" h="352">
                  <a:moveTo>
                    <a:pt x="151" y="304"/>
                  </a:moveTo>
                  <a:lnTo>
                    <a:pt x="185" y="288"/>
                  </a:lnTo>
                  <a:lnTo>
                    <a:pt x="185" y="248"/>
                  </a:lnTo>
                  <a:lnTo>
                    <a:pt x="210" y="232"/>
                  </a:lnTo>
                  <a:lnTo>
                    <a:pt x="194" y="192"/>
                  </a:lnTo>
                  <a:lnTo>
                    <a:pt x="168" y="184"/>
                  </a:lnTo>
                  <a:lnTo>
                    <a:pt x="143" y="152"/>
                  </a:lnTo>
                  <a:lnTo>
                    <a:pt x="135" y="96"/>
                  </a:lnTo>
                  <a:lnTo>
                    <a:pt x="135" y="72"/>
                  </a:lnTo>
                  <a:lnTo>
                    <a:pt x="101" y="32"/>
                  </a:lnTo>
                  <a:lnTo>
                    <a:pt x="84" y="16"/>
                  </a:lnTo>
                  <a:lnTo>
                    <a:pt x="59" y="16"/>
                  </a:lnTo>
                  <a:lnTo>
                    <a:pt x="25" y="0"/>
                  </a:lnTo>
                  <a:lnTo>
                    <a:pt x="0" y="72"/>
                  </a:lnTo>
                  <a:lnTo>
                    <a:pt x="0" y="80"/>
                  </a:lnTo>
                  <a:lnTo>
                    <a:pt x="17" y="88"/>
                  </a:lnTo>
                  <a:lnTo>
                    <a:pt x="33" y="104"/>
                  </a:lnTo>
                  <a:lnTo>
                    <a:pt x="33" y="120"/>
                  </a:lnTo>
                  <a:lnTo>
                    <a:pt x="33" y="160"/>
                  </a:lnTo>
                  <a:lnTo>
                    <a:pt x="42" y="248"/>
                  </a:lnTo>
                  <a:lnTo>
                    <a:pt x="67" y="288"/>
                  </a:lnTo>
                  <a:lnTo>
                    <a:pt x="109" y="320"/>
                  </a:lnTo>
                  <a:lnTo>
                    <a:pt x="135" y="352"/>
                  </a:lnTo>
                  <a:lnTo>
                    <a:pt x="151" y="344"/>
                  </a:lnTo>
                  <a:lnTo>
                    <a:pt x="151" y="30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89" name="Freeform 70"/>
            <p:cNvSpPr>
              <a:spLocks/>
            </p:cNvSpPr>
            <p:nvPr/>
          </p:nvSpPr>
          <p:spPr bwMode="auto">
            <a:xfrm>
              <a:off x="6251575" y="5038725"/>
              <a:ext cx="741363" cy="844550"/>
            </a:xfrm>
            <a:custGeom>
              <a:avLst/>
              <a:gdLst>
                <a:gd name="T0" fmla="*/ 2147483647 w 606"/>
                <a:gd name="T1" fmla="*/ 2147483647 h 704"/>
                <a:gd name="T2" fmla="*/ 2147483647 w 606"/>
                <a:gd name="T3" fmla="*/ 0 h 704"/>
                <a:gd name="T4" fmla="*/ 2147483647 w 606"/>
                <a:gd name="T5" fmla="*/ 2147483647 h 704"/>
                <a:gd name="T6" fmla="*/ 2147483647 w 606"/>
                <a:gd name="T7" fmla="*/ 2147483647 h 704"/>
                <a:gd name="T8" fmla="*/ 2147483647 w 606"/>
                <a:gd name="T9" fmla="*/ 2147483647 h 704"/>
                <a:gd name="T10" fmla="*/ 2147483647 w 606"/>
                <a:gd name="T11" fmla="*/ 2147483647 h 704"/>
                <a:gd name="T12" fmla="*/ 2147483647 w 606"/>
                <a:gd name="T13" fmla="*/ 2147483647 h 704"/>
                <a:gd name="T14" fmla="*/ 2147483647 w 606"/>
                <a:gd name="T15" fmla="*/ 2147483647 h 704"/>
                <a:gd name="T16" fmla="*/ 2147483647 w 606"/>
                <a:gd name="T17" fmla="*/ 2147483647 h 704"/>
                <a:gd name="T18" fmla="*/ 2147483647 w 606"/>
                <a:gd name="T19" fmla="*/ 2147483647 h 704"/>
                <a:gd name="T20" fmla="*/ 2147483647 w 606"/>
                <a:gd name="T21" fmla="*/ 2147483647 h 704"/>
                <a:gd name="T22" fmla="*/ 2147483647 w 606"/>
                <a:gd name="T23" fmla="*/ 2147483647 h 704"/>
                <a:gd name="T24" fmla="*/ 2147483647 w 606"/>
                <a:gd name="T25" fmla="*/ 2147483647 h 704"/>
                <a:gd name="T26" fmla="*/ 2147483647 w 606"/>
                <a:gd name="T27" fmla="*/ 2147483647 h 704"/>
                <a:gd name="T28" fmla="*/ 2147483647 w 606"/>
                <a:gd name="T29" fmla="*/ 2147483647 h 704"/>
                <a:gd name="T30" fmla="*/ 2147483647 w 606"/>
                <a:gd name="T31" fmla="*/ 2147483647 h 704"/>
                <a:gd name="T32" fmla="*/ 2147483647 w 606"/>
                <a:gd name="T33" fmla="*/ 2147483647 h 704"/>
                <a:gd name="T34" fmla="*/ 2147483647 w 606"/>
                <a:gd name="T35" fmla="*/ 2147483647 h 704"/>
                <a:gd name="T36" fmla="*/ 2147483647 w 606"/>
                <a:gd name="T37" fmla="*/ 2147483647 h 704"/>
                <a:gd name="T38" fmla="*/ 2147483647 w 606"/>
                <a:gd name="T39" fmla="*/ 2147483647 h 704"/>
                <a:gd name="T40" fmla="*/ 2147483647 w 606"/>
                <a:gd name="T41" fmla="*/ 2147483647 h 704"/>
                <a:gd name="T42" fmla="*/ 2147483647 w 606"/>
                <a:gd name="T43" fmla="*/ 2147483647 h 704"/>
                <a:gd name="T44" fmla="*/ 2147483647 w 606"/>
                <a:gd name="T45" fmla="*/ 2147483647 h 704"/>
                <a:gd name="T46" fmla="*/ 2147483647 w 606"/>
                <a:gd name="T47" fmla="*/ 2147483647 h 704"/>
                <a:gd name="T48" fmla="*/ 2147483647 w 606"/>
                <a:gd name="T49" fmla="*/ 2147483647 h 704"/>
                <a:gd name="T50" fmla="*/ 2147483647 w 606"/>
                <a:gd name="T51" fmla="*/ 2147483647 h 704"/>
                <a:gd name="T52" fmla="*/ 2147483647 w 606"/>
                <a:gd name="T53" fmla="*/ 2147483647 h 704"/>
                <a:gd name="T54" fmla="*/ 2147483647 w 606"/>
                <a:gd name="T55" fmla="*/ 2147483647 h 704"/>
                <a:gd name="T56" fmla="*/ 2147483647 w 606"/>
                <a:gd name="T57" fmla="*/ 2147483647 h 704"/>
                <a:gd name="T58" fmla="*/ 2147483647 w 606"/>
                <a:gd name="T59" fmla="*/ 2147483647 h 704"/>
                <a:gd name="T60" fmla="*/ 2147483647 w 606"/>
                <a:gd name="T61" fmla="*/ 2147483647 h 704"/>
                <a:gd name="T62" fmla="*/ 2147483647 w 606"/>
                <a:gd name="T63" fmla="*/ 2147483647 h 704"/>
                <a:gd name="T64" fmla="*/ 2147483647 w 606"/>
                <a:gd name="T65" fmla="*/ 2147483647 h 704"/>
                <a:gd name="T66" fmla="*/ 2147483647 w 606"/>
                <a:gd name="T67" fmla="*/ 2147483647 h 704"/>
                <a:gd name="T68" fmla="*/ 2147483647 w 606"/>
                <a:gd name="T69" fmla="*/ 2147483647 h 704"/>
                <a:gd name="T70" fmla="*/ 2147483647 w 606"/>
                <a:gd name="T71" fmla="*/ 2147483647 h 704"/>
                <a:gd name="T72" fmla="*/ 2147483647 w 606"/>
                <a:gd name="T73" fmla="*/ 2147483647 h 704"/>
                <a:gd name="T74" fmla="*/ 2147483647 w 606"/>
                <a:gd name="T75" fmla="*/ 2147483647 h 704"/>
                <a:gd name="T76" fmla="*/ 2147483647 w 606"/>
                <a:gd name="T77" fmla="*/ 2147483647 h 704"/>
                <a:gd name="T78" fmla="*/ 2147483647 w 606"/>
                <a:gd name="T79" fmla="*/ 2147483647 h 704"/>
                <a:gd name="T80" fmla="*/ 2147483647 w 606"/>
                <a:gd name="T81" fmla="*/ 2147483647 h 704"/>
                <a:gd name="T82" fmla="*/ 2147483647 w 606"/>
                <a:gd name="T83" fmla="*/ 2147483647 h 704"/>
                <a:gd name="T84" fmla="*/ 2147483647 w 606"/>
                <a:gd name="T85" fmla="*/ 2147483647 h 704"/>
                <a:gd name="T86" fmla="*/ 2147483647 w 606"/>
                <a:gd name="T87" fmla="*/ 2147483647 h 704"/>
                <a:gd name="T88" fmla="*/ 2147483647 w 606"/>
                <a:gd name="T89" fmla="*/ 2147483647 h 704"/>
                <a:gd name="T90" fmla="*/ 2147483647 w 606"/>
                <a:gd name="T91" fmla="*/ 2147483647 h 704"/>
                <a:gd name="T92" fmla="*/ 2147483647 w 606"/>
                <a:gd name="T93" fmla="*/ 2147483647 h 704"/>
                <a:gd name="T94" fmla="*/ 2147483647 w 606"/>
                <a:gd name="T95" fmla="*/ 2147483647 h 704"/>
                <a:gd name="T96" fmla="*/ 2147483647 w 606"/>
                <a:gd name="T97" fmla="*/ 2147483647 h 7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06"/>
                <a:gd name="T148" fmla="*/ 0 h 704"/>
                <a:gd name="T149" fmla="*/ 606 w 606"/>
                <a:gd name="T150" fmla="*/ 704 h 7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06" h="704">
                  <a:moveTo>
                    <a:pt x="589" y="72"/>
                  </a:moveTo>
                  <a:lnTo>
                    <a:pt x="606" y="24"/>
                  </a:lnTo>
                  <a:lnTo>
                    <a:pt x="581" y="0"/>
                  </a:lnTo>
                  <a:lnTo>
                    <a:pt x="556" y="0"/>
                  </a:lnTo>
                  <a:lnTo>
                    <a:pt x="564" y="40"/>
                  </a:lnTo>
                  <a:lnTo>
                    <a:pt x="530" y="56"/>
                  </a:lnTo>
                  <a:lnTo>
                    <a:pt x="471" y="72"/>
                  </a:lnTo>
                  <a:lnTo>
                    <a:pt x="446" y="72"/>
                  </a:lnTo>
                  <a:lnTo>
                    <a:pt x="412" y="72"/>
                  </a:lnTo>
                  <a:lnTo>
                    <a:pt x="379" y="56"/>
                  </a:lnTo>
                  <a:lnTo>
                    <a:pt x="328" y="88"/>
                  </a:lnTo>
                  <a:lnTo>
                    <a:pt x="286" y="104"/>
                  </a:lnTo>
                  <a:lnTo>
                    <a:pt x="244" y="104"/>
                  </a:lnTo>
                  <a:lnTo>
                    <a:pt x="236" y="136"/>
                  </a:lnTo>
                  <a:lnTo>
                    <a:pt x="168" y="144"/>
                  </a:lnTo>
                  <a:lnTo>
                    <a:pt x="134" y="184"/>
                  </a:lnTo>
                  <a:lnTo>
                    <a:pt x="109" y="184"/>
                  </a:lnTo>
                  <a:lnTo>
                    <a:pt x="75" y="200"/>
                  </a:lnTo>
                  <a:lnTo>
                    <a:pt x="67" y="200"/>
                  </a:lnTo>
                  <a:lnTo>
                    <a:pt x="75" y="232"/>
                  </a:lnTo>
                  <a:lnTo>
                    <a:pt x="50" y="248"/>
                  </a:lnTo>
                  <a:lnTo>
                    <a:pt x="50" y="288"/>
                  </a:lnTo>
                  <a:lnTo>
                    <a:pt x="16" y="304"/>
                  </a:lnTo>
                  <a:lnTo>
                    <a:pt x="16" y="344"/>
                  </a:lnTo>
                  <a:lnTo>
                    <a:pt x="0" y="352"/>
                  </a:lnTo>
                  <a:lnTo>
                    <a:pt x="33" y="392"/>
                  </a:lnTo>
                  <a:lnTo>
                    <a:pt x="75" y="424"/>
                  </a:lnTo>
                  <a:lnTo>
                    <a:pt x="59" y="464"/>
                  </a:lnTo>
                  <a:lnTo>
                    <a:pt x="92" y="464"/>
                  </a:lnTo>
                  <a:lnTo>
                    <a:pt x="118" y="480"/>
                  </a:lnTo>
                  <a:lnTo>
                    <a:pt x="202" y="480"/>
                  </a:lnTo>
                  <a:lnTo>
                    <a:pt x="286" y="472"/>
                  </a:lnTo>
                  <a:lnTo>
                    <a:pt x="362" y="480"/>
                  </a:lnTo>
                  <a:lnTo>
                    <a:pt x="337" y="496"/>
                  </a:lnTo>
                  <a:lnTo>
                    <a:pt x="328" y="512"/>
                  </a:lnTo>
                  <a:lnTo>
                    <a:pt x="294" y="512"/>
                  </a:lnTo>
                  <a:lnTo>
                    <a:pt x="261" y="504"/>
                  </a:lnTo>
                  <a:lnTo>
                    <a:pt x="210" y="488"/>
                  </a:lnTo>
                  <a:lnTo>
                    <a:pt x="185" y="504"/>
                  </a:lnTo>
                  <a:lnTo>
                    <a:pt x="160" y="512"/>
                  </a:lnTo>
                  <a:lnTo>
                    <a:pt x="134" y="552"/>
                  </a:lnTo>
                  <a:lnTo>
                    <a:pt x="160" y="568"/>
                  </a:lnTo>
                  <a:lnTo>
                    <a:pt x="185" y="584"/>
                  </a:lnTo>
                  <a:lnTo>
                    <a:pt x="202" y="592"/>
                  </a:lnTo>
                  <a:lnTo>
                    <a:pt x="210" y="624"/>
                  </a:lnTo>
                  <a:lnTo>
                    <a:pt x="236" y="672"/>
                  </a:lnTo>
                  <a:lnTo>
                    <a:pt x="252" y="648"/>
                  </a:lnTo>
                  <a:lnTo>
                    <a:pt x="278" y="656"/>
                  </a:lnTo>
                  <a:lnTo>
                    <a:pt x="311" y="704"/>
                  </a:lnTo>
                  <a:lnTo>
                    <a:pt x="337" y="656"/>
                  </a:lnTo>
                  <a:lnTo>
                    <a:pt x="396" y="688"/>
                  </a:lnTo>
                  <a:lnTo>
                    <a:pt x="328" y="568"/>
                  </a:lnTo>
                  <a:lnTo>
                    <a:pt x="353" y="576"/>
                  </a:lnTo>
                  <a:lnTo>
                    <a:pt x="370" y="584"/>
                  </a:lnTo>
                  <a:lnTo>
                    <a:pt x="370" y="600"/>
                  </a:lnTo>
                  <a:lnTo>
                    <a:pt x="387" y="576"/>
                  </a:lnTo>
                  <a:lnTo>
                    <a:pt x="412" y="560"/>
                  </a:lnTo>
                  <a:lnTo>
                    <a:pt x="353" y="528"/>
                  </a:lnTo>
                  <a:lnTo>
                    <a:pt x="404" y="512"/>
                  </a:lnTo>
                  <a:lnTo>
                    <a:pt x="455" y="528"/>
                  </a:lnTo>
                  <a:lnTo>
                    <a:pt x="446" y="488"/>
                  </a:lnTo>
                  <a:lnTo>
                    <a:pt x="438" y="464"/>
                  </a:lnTo>
                  <a:lnTo>
                    <a:pt x="412" y="448"/>
                  </a:lnTo>
                  <a:lnTo>
                    <a:pt x="438" y="448"/>
                  </a:lnTo>
                  <a:lnTo>
                    <a:pt x="455" y="464"/>
                  </a:lnTo>
                  <a:lnTo>
                    <a:pt x="480" y="480"/>
                  </a:lnTo>
                  <a:lnTo>
                    <a:pt x="514" y="472"/>
                  </a:lnTo>
                  <a:lnTo>
                    <a:pt x="463" y="440"/>
                  </a:lnTo>
                  <a:lnTo>
                    <a:pt x="421" y="408"/>
                  </a:lnTo>
                  <a:lnTo>
                    <a:pt x="353" y="384"/>
                  </a:lnTo>
                  <a:lnTo>
                    <a:pt x="337" y="384"/>
                  </a:lnTo>
                  <a:lnTo>
                    <a:pt x="337" y="400"/>
                  </a:lnTo>
                  <a:lnTo>
                    <a:pt x="345" y="416"/>
                  </a:lnTo>
                  <a:lnTo>
                    <a:pt x="311" y="408"/>
                  </a:lnTo>
                  <a:lnTo>
                    <a:pt x="294" y="400"/>
                  </a:lnTo>
                  <a:lnTo>
                    <a:pt x="294" y="376"/>
                  </a:lnTo>
                  <a:lnTo>
                    <a:pt x="294" y="352"/>
                  </a:lnTo>
                  <a:lnTo>
                    <a:pt x="337" y="360"/>
                  </a:lnTo>
                  <a:lnTo>
                    <a:pt x="337" y="336"/>
                  </a:lnTo>
                  <a:lnTo>
                    <a:pt x="320" y="320"/>
                  </a:lnTo>
                  <a:lnTo>
                    <a:pt x="269" y="288"/>
                  </a:lnTo>
                  <a:lnTo>
                    <a:pt x="236" y="240"/>
                  </a:lnTo>
                  <a:lnTo>
                    <a:pt x="244" y="224"/>
                  </a:lnTo>
                  <a:lnTo>
                    <a:pt x="261" y="200"/>
                  </a:lnTo>
                  <a:lnTo>
                    <a:pt x="269" y="224"/>
                  </a:lnTo>
                  <a:lnTo>
                    <a:pt x="294" y="232"/>
                  </a:lnTo>
                  <a:lnTo>
                    <a:pt x="320" y="240"/>
                  </a:lnTo>
                  <a:lnTo>
                    <a:pt x="337" y="264"/>
                  </a:lnTo>
                  <a:lnTo>
                    <a:pt x="337" y="232"/>
                  </a:lnTo>
                  <a:lnTo>
                    <a:pt x="362" y="208"/>
                  </a:lnTo>
                  <a:lnTo>
                    <a:pt x="370" y="160"/>
                  </a:lnTo>
                  <a:lnTo>
                    <a:pt x="387" y="144"/>
                  </a:lnTo>
                  <a:lnTo>
                    <a:pt x="412" y="136"/>
                  </a:lnTo>
                  <a:lnTo>
                    <a:pt x="497" y="112"/>
                  </a:lnTo>
                  <a:lnTo>
                    <a:pt x="539" y="112"/>
                  </a:lnTo>
                  <a:lnTo>
                    <a:pt x="564" y="112"/>
                  </a:lnTo>
                  <a:lnTo>
                    <a:pt x="573" y="128"/>
                  </a:lnTo>
                  <a:lnTo>
                    <a:pt x="598" y="96"/>
                  </a:lnTo>
                  <a:lnTo>
                    <a:pt x="589" y="7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90" name="Freeform 71"/>
            <p:cNvSpPr>
              <a:spLocks/>
            </p:cNvSpPr>
            <p:nvPr/>
          </p:nvSpPr>
          <p:spPr bwMode="auto">
            <a:xfrm>
              <a:off x="6086475" y="5038725"/>
              <a:ext cx="257175" cy="422275"/>
            </a:xfrm>
            <a:custGeom>
              <a:avLst/>
              <a:gdLst>
                <a:gd name="T0" fmla="*/ 2147483647 w 210"/>
                <a:gd name="T1" fmla="*/ 2147483647 h 352"/>
                <a:gd name="T2" fmla="*/ 2147483647 w 210"/>
                <a:gd name="T3" fmla="*/ 2147483647 h 352"/>
                <a:gd name="T4" fmla="*/ 2147483647 w 210"/>
                <a:gd name="T5" fmla="*/ 2147483647 h 352"/>
                <a:gd name="T6" fmla="*/ 2147483647 w 210"/>
                <a:gd name="T7" fmla="*/ 2147483647 h 352"/>
                <a:gd name="T8" fmla="*/ 2147483647 w 210"/>
                <a:gd name="T9" fmla="*/ 2147483647 h 352"/>
                <a:gd name="T10" fmla="*/ 2147483647 w 210"/>
                <a:gd name="T11" fmla="*/ 2147483647 h 352"/>
                <a:gd name="T12" fmla="*/ 2147483647 w 210"/>
                <a:gd name="T13" fmla="*/ 2147483647 h 352"/>
                <a:gd name="T14" fmla="*/ 2147483647 w 210"/>
                <a:gd name="T15" fmla="*/ 2147483647 h 352"/>
                <a:gd name="T16" fmla="*/ 2147483647 w 210"/>
                <a:gd name="T17" fmla="*/ 2147483647 h 352"/>
                <a:gd name="T18" fmla="*/ 2147483647 w 210"/>
                <a:gd name="T19" fmla="*/ 2147483647 h 352"/>
                <a:gd name="T20" fmla="*/ 2147483647 w 210"/>
                <a:gd name="T21" fmla="*/ 2147483647 h 352"/>
                <a:gd name="T22" fmla="*/ 2147483647 w 210"/>
                <a:gd name="T23" fmla="*/ 2147483647 h 352"/>
                <a:gd name="T24" fmla="*/ 2147483647 w 210"/>
                <a:gd name="T25" fmla="*/ 2147483647 h 352"/>
                <a:gd name="T26" fmla="*/ 2147483647 w 210"/>
                <a:gd name="T27" fmla="*/ 0 h 352"/>
                <a:gd name="T28" fmla="*/ 0 w 210"/>
                <a:gd name="T29" fmla="*/ 2147483647 h 352"/>
                <a:gd name="T30" fmla="*/ 0 w 210"/>
                <a:gd name="T31" fmla="*/ 2147483647 h 352"/>
                <a:gd name="T32" fmla="*/ 2147483647 w 210"/>
                <a:gd name="T33" fmla="*/ 2147483647 h 352"/>
                <a:gd name="T34" fmla="*/ 2147483647 w 210"/>
                <a:gd name="T35" fmla="*/ 2147483647 h 352"/>
                <a:gd name="T36" fmla="*/ 2147483647 w 210"/>
                <a:gd name="T37" fmla="*/ 2147483647 h 352"/>
                <a:gd name="T38" fmla="*/ 2147483647 w 210"/>
                <a:gd name="T39" fmla="*/ 2147483647 h 352"/>
                <a:gd name="T40" fmla="*/ 2147483647 w 210"/>
                <a:gd name="T41" fmla="*/ 2147483647 h 352"/>
                <a:gd name="T42" fmla="*/ 2147483647 w 210"/>
                <a:gd name="T43" fmla="*/ 2147483647 h 352"/>
                <a:gd name="T44" fmla="*/ 2147483647 w 210"/>
                <a:gd name="T45" fmla="*/ 2147483647 h 352"/>
                <a:gd name="T46" fmla="*/ 2147483647 w 210"/>
                <a:gd name="T47" fmla="*/ 2147483647 h 352"/>
                <a:gd name="T48" fmla="*/ 2147483647 w 210"/>
                <a:gd name="T49" fmla="*/ 2147483647 h 352"/>
                <a:gd name="T50" fmla="*/ 2147483647 w 210"/>
                <a:gd name="T51" fmla="*/ 2147483647 h 3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0"/>
                <a:gd name="T79" fmla="*/ 0 h 352"/>
                <a:gd name="T80" fmla="*/ 210 w 210"/>
                <a:gd name="T81" fmla="*/ 352 h 3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0" h="352">
                  <a:moveTo>
                    <a:pt x="151" y="304"/>
                  </a:moveTo>
                  <a:lnTo>
                    <a:pt x="185" y="288"/>
                  </a:lnTo>
                  <a:lnTo>
                    <a:pt x="185" y="248"/>
                  </a:lnTo>
                  <a:lnTo>
                    <a:pt x="210" y="232"/>
                  </a:lnTo>
                  <a:lnTo>
                    <a:pt x="194" y="192"/>
                  </a:lnTo>
                  <a:lnTo>
                    <a:pt x="168" y="184"/>
                  </a:lnTo>
                  <a:lnTo>
                    <a:pt x="143" y="152"/>
                  </a:lnTo>
                  <a:lnTo>
                    <a:pt x="135" y="96"/>
                  </a:lnTo>
                  <a:lnTo>
                    <a:pt x="135" y="72"/>
                  </a:lnTo>
                  <a:lnTo>
                    <a:pt x="101" y="32"/>
                  </a:lnTo>
                  <a:lnTo>
                    <a:pt x="84" y="16"/>
                  </a:lnTo>
                  <a:lnTo>
                    <a:pt x="59" y="16"/>
                  </a:lnTo>
                  <a:lnTo>
                    <a:pt x="25" y="0"/>
                  </a:lnTo>
                  <a:lnTo>
                    <a:pt x="0" y="72"/>
                  </a:lnTo>
                  <a:lnTo>
                    <a:pt x="0" y="80"/>
                  </a:lnTo>
                  <a:lnTo>
                    <a:pt x="17" y="88"/>
                  </a:lnTo>
                  <a:lnTo>
                    <a:pt x="33" y="104"/>
                  </a:lnTo>
                  <a:lnTo>
                    <a:pt x="33" y="120"/>
                  </a:lnTo>
                  <a:lnTo>
                    <a:pt x="33" y="160"/>
                  </a:lnTo>
                  <a:lnTo>
                    <a:pt x="42" y="248"/>
                  </a:lnTo>
                  <a:lnTo>
                    <a:pt x="67" y="288"/>
                  </a:lnTo>
                  <a:lnTo>
                    <a:pt x="109" y="320"/>
                  </a:lnTo>
                  <a:lnTo>
                    <a:pt x="135" y="352"/>
                  </a:lnTo>
                  <a:lnTo>
                    <a:pt x="151" y="344"/>
                  </a:lnTo>
                  <a:lnTo>
                    <a:pt x="151" y="304"/>
                  </a:lnTo>
                  <a:close/>
                </a:path>
              </a:pathLst>
            </a:custGeom>
            <a:solidFill>
              <a:schemeClr val="bg1"/>
            </a:solidFill>
            <a:ln w="12700">
              <a:solidFill>
                <a:srgbClr val="000000"/>
              </a:solidFill>
              <a:round/>
              <a:headEnd/>
              <a:tailEnd/>
            </a:ln>
          </p:spPr>
          <p:txBody>
            <a:bodyPr/>
            <a:lstStyle/>
            <a:p>
              <a:endParaRPr lang="en-US"/>
            </a:p>
          </p:txBody>
        </p:sp>
        <p:sp>
          <p:nvSpPr>
            <p:cNvPr id="34891" name="Freeform 72"/>
            <p:cNvSpPr>
              <a:spLocks/>
            </p:cNvSpPr>
            <p:nvPr/>
          </p:nvSpPr>
          <p:spPr bwMode="auto">
            <a:xfrm>
              <a:off x="6251575" y="5038725"/>
              <a:ext cx="741363" cy="844550"/>
            </a:xfrm>
            <a:custGeom>
              <a:avLst/>
              <a:gdLst>
                <a:gd name="T0" fmla="*/ 2147483647 w 606"/>
                <a:gd name="T1" fmla="*/ 2147483647 h 704"/>
                <a:gd name="T2" fmla="*/ 2147483647 w 606"/>
                <a:gd name="T3" fmla="*/ 0 h 704"/>
                <a:gd name="T4" fmla="*/ 2147483647 w 606"/>
                <a:gd name="T5" fmla="*/ 2147483647 h 704"/>
                <a:gd name="T6" fmla="*/ 2147483647 w 606"/>
                <a:gd name="T7" fmla="*/ 2147483647 h 704"/>
                <a:gd name="T8" fmla="*/ 2147483647 w 606"/>
                <a:gd name="T9" fmla="*/ 2147483647 h 704"/>
                <a:gd name="T10" fmla="*/ 2147483647 w 606"/>
                <a:gd name="T11" fmla="*/ 2147483647 h 704"/>
                <a:gd name="T12" fmla="*/ 2147483647 w 606"/>
                <a:gd name="T13" fmla="*/ 2147483647 h 704"/>
                <a:gd name="T14" fmla="*/ 2147483647 w 606"/>
                <a:gd name="T15" fmla="*/ 2147483647 h 704"/>
                <a:gd name="T16" fmla="*/ 2147483647 w 606"/>
                <a:gd name="T17" fmla="*/ 2147483647 h 704"/>
                <a:gd name="T18" fmla="*/ 2147483647 w 606"/>
                <a:gd name="T19" fmla="*/ 2147483647 h 704"/>
                <a:gd name="T20" fmla="*/ 2147483647 w 606"/>
                <a:gd name="T21" fmla="*/ 2147483647 h 704"/>
                <a:gd name="T22" fmla="*/ 2147483647 w 606"/>
                <a:gd name="T23" fmla="*/ 2147483647 h 704"/>
                <a:gd name="T24" fmla="*/ 2147483647 w 606"/>
                <a:gd name="T25" fmla="*/ 2147483647 h 704"/>
                <a:gd name="T26" fmla="*/ 2147483647 w 606"/>
                <a:gd name="T27" fmla="*/ 2147483647 h 704"/>
                <a:gd name="T28" fmla="*/ 2147483647 w 606"/>
                <a:gd name="T29" fmla="*/ 2147483647 h 704"/>
                <a:gd name="T30" fmla="*/ 2147483647 w 606"/>
                <a:gd name="T31" fmla="*/ 2147483647 h 704"/>
                <a:gd name="T32" fmla="*/ 2147483647 w 606"/>
                <a:gd name="T33" fmla="*/ 2147483647 h 704"/>
                <a:gd name="T34" fmla="*/ 2147483647 w 606"/>
                <a:gd name="T35" fmla="*/ 2147483647 h 704"/>
                <a:gd name="T36" fmla="*/ 2147483647 w 606"/>
                <a:gd name="T37" fmla="*/ 2147483647 h 704"/>
                <a:gd name="T38" fmla="*/ 2147483647 w 606"/>
                <a:gd name="T39" fmla="*/ 2147483647 h 704"/>
                <a:gd name="T40" fmla="*/ 2147483647 w 606"/>
                <a:gd name="T41" fmla="*/ 2147483647 h 704"/>
                <a:gd name="T42" fmla="*/ 2147483647 w 606"/>
                <a:gd name="T43" fmla="*/ 2147483647 h 704"/>
                <a:gd name="T44" fmla="*/ 2147483647 w 606"/>
                <a:gd name="T45" fmla="*/ 2147483647 h 704"/>
                <a:gd name="T46" fmla="*/ 2147483647 w 606"/>
                <a:gd name="T47" fmla="*/ 2147483647 h 704"/>
                <a:gd name="T48" fmla="*/ 2147483647 w 606"/>
                <a:gd name="T49" fmla="*/ 2147483647 h 704"/>
                <a:gd name="T50" fmla="*/ 2147483647 w 606"/>
                <a:gd name="T51" fmla="*/ 2147483647 h 704"/>
                <a:gd name="T52" fmla="*/ 2147483647 w 606"/>
                <a:gd name="T53" fmla="*/ 2147483647 h 704"/>
                <a:gd name="T54" fmla="*/ 2147483647 w 606"/>
                <a:gd name="T55" fmla="*/ 2147483647 h 704"/>
                <a:gd name="T56" fmla="*/ 2147483647 w 606"/>
                <a:gd name="T57" fmla="*/ 2147483647 h 704"/>
                <a:gd name="T58" fmla="*/ 2147483647 w 606"/>
                <a:gd name="T59" fmla="*/ 2147483647 h 704"/>
                <a:gd name="T60" fmla="*/ 2147483647 w 606"/>
                <a:gd name="T61" fmla="*/ 2147483647 h 704"/>
                <a:gd name="T62" fmla="*/ 2147483647 w 606"/>
                <a:gd name="T63" fmla="*/ 2147483647 h 704"/>
                <a:gd name="T64" fmla="*/ 2147483647 w 606"/>
                <a:gd name="T65" fmla="*/ 2147483647 h 704"/>
                <a:gd name="T66" fmla="*/ 2147483647 w 606"/>
                <a:gd name="T67" fmla="*/ 2147483647 h 704"/>
                <a:gd name="T68" fmla="*/ 2147483647 w 606"/>
                <a:gd name="T69" fmla="*/ 2147483647 h 704"/>
                <a:gd name="T70" fmla="*/ 2147483647 w 606"/>
                <a:gd name="T71" fmla="*/ 2147483647 h 704"/>
                <a:gd name="T72" fmla="*/ 2147483647 w 606"/>
                <a:gd name="T73" fmla="*/ 2147483647 h 704"/>
                <a:gd name="T74" fmla="*/ 2147483647 w 606"/>
                <a:gd name="T75" fmla="*/ 2147483647 h 704"/>
                <a:gd name="T76" fmla="*/ 2147483647 w 606"/>
                <a:gd name="T77" fmla="*/ 2147483647 h 704"/>
                <a:gd name="T78" fmla="*/ 2147483647 w 606"/>
                <a:gd name="T79" fmla="*/ 2147483647 h 704"/>
                <a:gd name="T80" fmla="*/ 2147483647 w 606"/>
                <a:gd name="T81" fmla="*/ 2147483647 h 704"/>
                <a:gd name="T82" fmla="*/ 2147483647 w 606"/>
                <a:gd name="T83" fmla="*/ 2147483647 h 704"/>
                <a:gd name="T84" fmla="*/ 2147483647 w 606"/>
                <a:gd name="T85" fmla="*/ 2147483647 h 704"/>
                <a:gd name="T86" fmla="*/ 2147483647 w 606"/>
                <a:gd name="T87" fmla="*/ 2147483647 h 704"/>
                <a:gd name="T88" fmla="*/ 2147483647 w 606"/>
                <a:gd name="T89" fmla="*/ 2147483647 h 704"/>
                <a:gd name="T90" fmla="*/ 2147483647 w 606"/>
                <a:gd name="T91" fmla="*/ 2147483647 h 704"/>
                <a:gd name="T92" fmla="*/ 2147483647 w 606"/>
                <a:gd name="T93" fmla="*/ 2147483647 h 704"/>
                <a:gd name="T94" fmla="*/ 2147483647 w 606"/>
                <a:gd name="T95" fmla="*/ 2147483647 h 704"/>
                <a:gd name="T96" fmla="*/ 2147483647 w 606"/>
                <a:gd name="T97" fmla="*/ 2147483647 h 7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06"/>
                <a:gd name="T148" fmla="*/ 0 h 704"/>
                <a:gd name="T149" fmla="*/ 606 w 606"/>
                <a:gd name="T150" fmla="*/ 704 h 7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06" h="704">
                  <a:moveTo>
                    <a:pt x="589" y="72"/>
                  </a:moveTo>
                  <a:lnTo>
                    <a:pt x="606" y="24"/>
                  </a:lnTo>
                  <a:lnTo>
                    <a:pt x="581" y="0"/>
                  </a:lnTo>
                  <a:lnTo>
                    <a:pt x="556" y="0"/>
                  </a:lnTo>
                  <a:lnTo>
                    <a:pt x="564" y="40"/>
                  </a:lnTo>
                  <a:lnTo>
                    <a:pt x="530" y="56"/>
                  </a:lnTo>
                  <a:lnTo>
                    <a:pt x="471" y="72"/>
                  </a:lnTo>
                  <a:lnTo>
                    <a:pt x="446" y="72"/>
                  </a:lnTo>
                  <a:lnTo>
                    <a:pt x="412" y="72"/>
                  </a:lnTo>
                  <a:lnTo>
                    <a:pt x="379" y="56"/>
                  </a:lnTo>
                  <a:lnTo>
                    <a:pt x="328" y="88"/>
                  </a:lnTo>
                  <a:lnTo>
                    <a:pt x="286" y="104"/>
                  </a:lnTo>
                  <a:lnTo>
                    <a:pt x="244" y="104"/>
                  </a:lnTo>
                  <a:lnTo>
                    <a:pt x="236" y="136"/>
                  </a:lnTo>
                  <a:lnTo>
                    <a:pt x="168" y="144"/>
                  </a:lnTo>
                  <a:lnTo>
                    <a:pt x="134" y="184"/>
                  </a:lnTo>
                  <a:lnTo>
                    <a:pt x="109" y="184"/>
                  </a:lnTo>
                  <a:lnTo>
                    <a:pt x="75" y="200"/>
                  </a:lnTo>
                  <a:lnTo>
                    <a:pt x="67" y="200"/>
                  </a:lnTo>
                  <a:lnTo>
                    <a:pt x="75" y="232"/>
                  </a:lnTo>
                  <a:lnTo>
                    <a:pt x="50" y="248"/>
                  </a:lnTo>
                  <a:lnTo>
                    <a:pt x="50" y="288"/>
                  </a:lnTo>
                  <a:lnTo>
                    <a:pt x="16" y="304"/>
                  </a:lnTo>
                  <a:lnTo>
                    <a:pt x="16" y="344"/>
                  </a:lnTo>
                  <a:lnTo>
                    <a:pt x="0" y="352"/>
                  </a:lnTo>
                  <a:lnTo>
                    <a:pt x="33" y="392"/>
                  </a:lnTo>
                  <a:lnTo>
                    <a:pt x="75" y="424"/>
                  </a:lnTo>
                  <a:lnTo>
                    <a:pt x="59" y="464"/>
                  </a:lnTo>
                  <a:lnTo>
                    <a:pt x="92" y="464"/>
                  </a:lnTo>
                  <a:lnTo>
                    <a:pt x="118" y="480"/>
                  </a:lnTo>
                  <a:lnTo>
                    <a:pt x="202" y="480"/>
                  </a:lnTo>
                  <a:lnTo>
                    <a:pt x="286" y="472"/>
                  </a:lnTo>
                  <a:lnTo>
                    <a:pt x="362" y="480"/>
                  </a:lnTo>
                  <a:lnTo>
                    <a:pt x="337" y="496"/>
                  </a:lnTo>
                  <a:lnTo>
                    <a:pt x="328" y="512"/>
                  </a:lnTo>
                  <a:lnTo>
                    <a:pt x="294" y="512"/>
                  </a:lnTo>
                  <a:lnTo>
                    <a:pt x="261" y="504"/>
                  </a:lnTo>
                  <a:lnTo>
                    <a:pt x="210" y="488"/>
                  </a:lnTo>
                  <a:lnTo>
                    <a:pt x="185" y="504"/>
                  </a:lnTo>
                  <a:lnTo>
                    <a:pt x="160" y="512"/>
                  </a:lnTo>
                  <a:lnTo>
                    <a:pt x="134" y="552"/>
                  </a:lnTo>
                  <a:lnTo>
                    <a:pt x="160" y="568"/>
                  </a:lnTo>
                  <a:lnTo>
                    <a:pt x="185" y="584"/>
                  </a:lnTo>
                  <a:lnTo>
                    <a:pt x="202" y="592"/>
                  </a:lnTo>
                  <a:lnTo>
                    <a:pt x="210" y="624"/>
                  </a:lnTo>
                  <a:lnTo>
                    <a:pt x="236" y="672"/>
                  </a:lnTo>
                  <a:lnTo>
                    <a:pt x="252" y="648"/>
                  </a:lnTo>
                  <a:lnTo>
                    <a:pt x="278" y="656"/>
                  </a:lnTo>
                  <a:lnTo>
                    <a:pt x="311" y="704"/>
                  </a:lnTo>
                  <a:lnTo>
                    <a:pt x="337" y="656"/>
                  </a:lnTo>
                  <a:lnTo>
                    <a:pt x="396" y="688"/>
                  </a:lnTo>
                  <a:lnTo>
                    <a:pt x="328" y="568"/>
                  </a:lnTo>
                  <a:lnTo>
                    <a:pt x="353" y="576"/>
                  </a:lnTo>
                  <a:lnTo>
                    <a:pt x="370" y="584"/>
                  </a:lnTo>
                  <a:lnTo>
                    <a:pt x="370" y="600"/>
                  </a:lnTo>
                  <a:lnTo>
                    <a:pt x="387" y="576"/>
                  </a:lnTo>
                  <a:lnTo>
                    <a:pt x="412" y="560"/>
                  </a:lnTo>
                  <a:lnTo>
                    <a:pt x="353" y="528"/>
                  </a:lnTo>
                  <a:lnTo>
                    <a:pt x="404" y="512"/>
                  </a:lnTo>
                  <a:lnTo>
                    <a:pt x="455" y="528"/>
                  </a:lnTo>
                  <a:lnTo>
                    <a:pt x="446" y="488"/>
                  </a:lnTo>
                  <a:lnTo>
                    <a:pt x="438" y="464"/>
                  </a:lnTo>
                  <a:lnTo>
                    <a:pt x="412" y="448"/>
                  </a:lnTo>
                  <a:lnTo>
                    <a:pt x="438" y="448"/>
                  </a:lnTo>
                  <a:lnTo>
                    <a:pt x="455" y="464"/>
                  </a:lnTo>
                  <a:lnTo>
                    <a:pt x="480" y="480"/>
                  </a:lnTo>
                  <a:lnTo>
                    <a:pt x="514" y="472"/>
                  </a:lnTo>
                  <a:lnTo>
                    <a:pt x="463" y="440"/>
                  </a:lnTo>
                  <a:lnTo>
                    <a:pt x="421" y="408"/>
                  </a:lnTo>
                  <a:lnTo>
                    <a:pt x="353" y="384"/>
                  </a:lnTo>
                  <a:lnTo>
                    <a:pt x="337" y="384"/>
                  </a:lnTo>
                  <a:lnTo>
                    <a:pt x="337" y="400"/>
                  </a:lnTo>
                  <a:lnTo>
                    <a:pt x="345" y="416"/>
                  </a:lnTo>
                  <a:lnTo>
                    <a:pt x="311" y="408"/>
                  </a:lnTo>
                  <a:lnTo>
                    <a:pt x="294" y="400"/>
                  </a:lnTo>
                  <a:lnTo>
                    <a:pt x="294" y="376"/>
                  </a:lnTo>
                  <a:lnTo>
                    <a:pt x="294" y="352"/>
                  </a:lnTo>
                  <a:lnTo>
                    <a:pt x="337" y="360"/>
                  </a:lnTo>
                  <a:lnTo>
                    <a:pt x="337" y="336"/>
                  </a:lnTo>
                  <a:lnTo>
                    <a:pt x="320" y="320"/>
                  </a:lnTo>
                  <a:lnTo>
                    <a:pt x="269" y="288"/>
                  </a:lnTo>
                  <a:lnTo>
                    <a:pt x="236" y="240"/>
                  </a:lnTo>
                  <a:lnTo>
                    <a:pt x="244" y="224"/>
                  </a:lnTo>
                  <a:lnTo>
                    <a:pt x="261" y="200"/>
                  </a:lnTo>
                  <a:lnTo>
                    <a:pt x="269" y="224"/>
                  </a:lnTo>
                  <a:lnTo>
                    <a:pt x="294" y="232"/>
                  </a:lnTo>
                  <a:lnTo>
                    <a:pt x="320" y="240"/>
                  </a:lnTo>
                  <a:lnTo>
                    <a:pt x="337" y="264"/>
                  </a:lnTo>
                  <a:lnTo>
                    <a:pt x="337" y="232"/>
                  </a:lnTo>
                  <a:lnTo>
                    <a:pt x="362" y="208"/>
                  </a:lnTo>
                  <a:lnTo>
                    <a:pt x="370" y="160"/>
                  </a:lnTo>
                  <a:lnTo>
                    <a:pt x="387" y="144"/>
                  </a:lnTo>
                  <a:lnTo>
                    <a:pt x="412" y="136"/>
                  </a:lnTo>
                  <a:lnTo>
                    <a:pt x="497" y="112"/>
                  </a:lnTo>
                  <a:lnTo>
                    <a:pt x="539" y="112"/>
                  </a:lnTo>
                  <a:lnTo>
                    <a:pt x="564" y="112"/>
                  </a:lnTo>
                  <a:lnTo>
                    <a:pt x="573" y="128"/>
                  </a:lnTo>
                  <a:lnTo>
                    <a:pt x="598" y="96"/>
                  </a:lnTo>
                  <a:lnTo>
                    <a:pt x="589" y="72"/>
                  </a:lnTo>
                  <a:close/>
                </a:path>
              </a:pathLst>
            </a:custGeom>
            <a:solidFill>
              <a:schemeClr val="bg1"/>
            </a:solidFill>
            <a:ln w="12700">
              <a:solidFill>
                <a:srgbClr val="000000"/>
              </a:solidFill>
              <a:round/>
              <a:headEnd/>
              <a:tailEnd/>
            </a:ln>
          </p:spPr>
          <p:txBody>
            <a:bodyPr/>
            <a:lstStyle/>
            <a:p>
              <a:endParaRPr lang="en-US"/>
            </a:p>
          </p:txBody>
        </p:sp>
        <p:sp>
          <p:nvSpPr>
            <p:cNvPr id="34892" name="Freeform 73"/>
            <p:cNvSpPr>
              <a:spLocks/>
            </p:cNvSpPr>
            <p:nvPr/>
          </p:nvSpPr>
          <p:spPr bwMode="auto">
            <a:xfrm>
              <a:off x="6251575" y="5048250"/>
              <a:ext cx="298450" cy="230188"/>
            </a:xfrm>
            <a:custGeom>
              <a:avLst/>
              <a:gdLst>
                <a:gd name="T0" fmla="*/ 2147483647 w 244"/>
                <a:gd name="T1" fmla="*/ 2147483647 h 192"/>
                <a:gd name="T2" fmla="*/ 2147483647 w 244"/>
                <a:gd name="T3" fmla="*/ 2147483647 h 192"/>
                <a:gd name="T4" fmla="*/ 2147483647 w 244"/>
                <a:gd name="T5" fmla="*/ 0 h 192"/>
                <a:gd name="T6" fmla="*/ 2147483647 w 244"/>
                <a:gd name="T7" fmla="*/ 0 h 192"/>
                <a:gd name="T8" fmla="*/ 2147483647 w 244"/>
                <a:gd name="T9" fmla="*/ 2147483647 h 192"/>
                <a:gd name="T10" fmla="*/ 2147483647 w 244"/>
                <a:gd name="T11" fmla="*/ 2147483647 h 192"/>
                <a:gd name="T12" fmla="*/ 2147483647 w 244"/>
                <a:gd name="T13" fmla="*/ 2147483647 h 192"/>
                <a:gd name="T14" fmla="*/ 2147483647 w 244"/>
                <a:gd name="T15" fmla="*/ 2147483647 h 192"/>
                <a:gd name="T16" fmla="*/ 0 w 244"/>
                <a:gd name="T17" fmla="*/ 2147483647 h 192"/>
                <a:gd name="T18" fmla="*/ 0 w 244"/>
                <a:gd name="T19" fmla="*/ 2147483647 h 192"/>
                <a:gd name="T20" fmla="*/ 2147483647 w 244"/>
                <a:gd name="T21" fmla="*/ 2147483647 h 192"/>
                <a:gd name="T22" fmla="*/ 2147483647 w 244"/>
                <a:gd name="T23" fmla="*/ 2147483647 h 192"/>
                <a:gd name="T24" fmla="*/ 2147483647 w 244"/>
                <a:gd name="T25" fmla="*/ 2147483647 h 192"/>
                <a:gd name="T26" fmla="*/ 2147483647 w 244"/>
                <a:gd name="T27" fmla="*/ 2147483647 h 192"/>
                <a:gd name="T28" fmla="*/ 2147483647 w 244"/>
                <a:gd name="T29" fmla="*/ 2147483647 h 192"/>
                <a:gd name="T30" fmla="*/ 2147483647 w 244"/>
                <a:gd name="T31" fmla="*/ 2147483647 h 192"/>
                <a:gd name="T32" fmla="*/ 2147483647 w 244"/>
                <a:gd name="T33" fmla="*/ 2147483647 h 192"/>
                <a:gd name="T34" fmla="*/ 2147483647 w 244"/>
                <a:gd name="T35" fmla="*/ 2147483647 h 192"/>
                <a:gd name="T36" fmla="*/ 2147483647 w 244"/>
                <a:gd name="T37" fmla="*/ 2147483647 h 192"/>
                <a:gd name="T38" fmla="*/ 2147483647 w 244"/>
                <a:gd name="T39" fmla="*/ 2147483647 h 192"/>
                <a:gd name="T40" fmla="*/ 2147483647 w 244"/>
                <a:gd name="T41" fmla="*/ 2147483647 h 192"/>
                <a:gd name="T42" fmla="*/ 2147483647 w 244"/>
                <a:gd name="T43" fmla="*/ 2147483647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4"/>
                <a:gd name="T67" fmla="*/ 0 h 192"/>
                <a:gd name="T68" fmla="*/ 244 w 244"/>
                <a:gd name="T69" fmla="*/ 192 h 19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4" h="192">
                  <a:moveTo>
                    <a:pt x="227" y="32"/>
                  </a:moveTo>
                  <a:lnTo>
                    <a:pt x="185" y="16"/>
                  </a:lnTo>
                  <a:lnTo>
                    <a:pt x="177" y="0"/>
                  </a:lnTo>
                  <a:lnTo>
                    <a:pt x="134" y="0"/>
                  </a:lnTo>
                  <a:lnTo>
                    <a:pt x="75" y="24"/>
                  </a:lnTo>
                  <a:lnTo>
                    <a:pt x="50" y="32"/>
                  </a:lnTo>
                  <a:lnTo>
                    <a:pt x="25" y="40"/>
                  </a:lnTo>
                  <a:lnTo>
                    <a:pt x="16" y="72"/>
                  </a:lnTo>
                  <a:lnTo>
                    <a:pt x="0" y="64"/>
                  </a:lnTo>
                  <a:lnTo>
                    <a:pt x="0" y="88"/>
                  </a:lnTo>
                  <a:lnTo>
                    <a:pt x="8" y="144"/>
                  </a:lnTo>
                  <a:lnTo>
                    <a:pt x="33" y="176"/>
                  </a:lnTo>
                  <a:lnTo>
                    <a:pt x="59" y="184"/>
                  </a:lnTo>
                  <a:lnTo>
                    <a:pt x="67" y="192"/>
                  </a:lnTo>
                  <a:lnTo>
                    <a:pt x="75" y="192"/>
                  </a:lnTo>
                  <a:lnTo>
                    <a:pt x="109" y="176"/>
                  </a:lnTo>
                  <a:lnTo>
                    <a:pt x="134" y="176"/>
                  </a:lnTo>
                  <a:lnTo>
                    <a:pt x="168" y="136"/>
                  </a:lnTo>
                  <a:lnTo>
                    <a:pt x="236" y="128"/>
                  </a:lnTo>
                  <a:lnTo>
                    <a:pt x="244" y="104"/>
                  </a:lnTo>
                  <a:lnTo>
                    <a:pt x="244" y="64"/>
                  </a:lnTo>
                  <a:lnTo>
                    <a:pt x="227" y="3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93" name="Freeform 74"/>
            <p:cNvSpPr>
              <a:spLocks/>
            </p:cNvSpPr>
            <p:nvPr/>
          </p:nvSpPr>
          <p:spPr bwMode="auto">
            <a:xfrm>
              <a:off x="6415088" y="4684713"/>
              <a:ext cx="722313" cy="488950"/>
            </a:xfrm>
            <a:custGeom>
              <a:avLst/>
              <a:gdLst>
                <a:gd name="T0" fmla="*/ 2147483647 w 590"/>
                <a:gd name="T1" fmla="*/ 2147483647 h 408"/>
                <a:gd name="T2" fmla="*/ 2147483647 w 590"/>
                <a:gd name="T3" fmla="*/ 2147483647 h 408"/>
                <a:gd name="T4" fmla="*/ 2147483647 w 590"/>
                <a:gd name="T5" fmla="*/ 2147483647 h 408"/>
                <a:gd name="T6" fmla="*/ 2147483647 w 590"/>
                <a:gd name="T7" fmla="*/ 2147483647 h 408"/>
                <a:gd name="T8" fmla="*/ 2147483647 w 590"/>
                <a:gd name="T9" fmla="*/ 2147483647 h 408"/>
                <a:gd name="T10" fmla="*/ 2147483647 w 590"/>
                <a:gd name="T11" fmla="*/ 2147483647 h 408"/>
                <a:gd name="T12" fmla="*/ 2147483647 w 590"/>
                <a:gd name="T13" fmla="*/ 2147483647 h 408"/>
                <a:gd name="T14" fmla="*/ 2147483647 w 590"/>
                <a:gd name="T15" fmla="*/ 2147483647 h 408"/>
                <a:gd name="T16" fmla="*/ 2147483647 w 590"/>
                <a:gd name="T17" fmla="*/ 2147483647 h 408"/>
                <a:gd name="T18" fmla="*/ 2147483647 w 590"/>
                <a:gd name="T19" fmla="*/ 2147483647 h 408"/>
                <a:gd name="T20" fmla="*/ 2147483647 w 590"/>
                <a:gd name="T21" fmla="*/ 2147483647 h 408"/>
                <a:gd name="T22" fmla="*/ 2147483647 w 590"/>
                <a:gd name="T23" fmla="*/ 2147483647 h 408"/>
                <a:gd name="T24" fmla="*/ 2147483647 w 590"/>
                <a:gd name="T25" fmla="*/ 2147483647 h 408"/>
                <a:gd name="T26" fmla="*/ 2147483647 w 590"/>
                <a:gd name="T27" fmla="*/ 2147483647 h 408"/>
                <a:gd name="T28" fmla="*/ 2147483647 w 590"/>
                <a:gd name="T29" fmla="*/ 2147483647 h 408"/>
                <a:gd name="T30" fmla="*/ 2147483647 w 590"/>
                <a:gd name="T31" fmla="*/ 0 h 408"/>
                <a:gd name="T32" fmla="*/ 2147483647 w 590"/>
                <a:gd name="T33" fmla="*/ 2147483647 h 408"/>
                <a:gd name="T34" fmla="*/ 2147483647 w 590"/>
                <a:gd name="T35" fmla="*/ 0 h 408"/>
                <a:gd name="T36" fmla="*/ 2147483647 w 590"/>
                <a:gd name="T37" fmla="*/ 2147483647 h 408"/>
                <a:gd name="T38" fmla="*/ 2147483647 w 590"/>
                <a:gd name="T39" fmla="*/ 2147483647 h 408"/>
                <a:gd name="T40" fmla="*/ 2147483647 w 590"/>
                <a:gd name="T41" fmla="*/ 2147483647 h 408"/>
                <a:gd name="T42" fmla="*/ 2147483647 w 590"/>
                <a:gd name="T43" fmla="*/ 2147483647 h 408"/>
                <a:gd name="T44" fmla="*/ 2147483647 w 590"/>
                <a:gd name="T45" fmla="*/ 2147483647 h 408"/>
                <a:gd name="T46" fmla="*/ 2147483647 w 590"/>
                <a:gd name="T47" fmla="*/ 2147483647 h 408"/>
                <a:gd name="T48" fmla="*/ 2147483647 w 590"/>
                <a:gd name="T49" fmla="*/ 2147483647 h 408"/>
                <a:gd name="T50" fmla="*/ 2147483647 w 590"/>
                <a:gd name="T51" fmla="*/ 2147483647 h 408"/>
                <a:gd name="T52" fmla="*/ 2147483647 w 590"/>
                <a:gd name="T53" fmla="*/ 2147483647 h 408"/>
                <a:gd name="T54" fmla="*/ 2147483647 w 590"/>
                <a:gd name="T55" fmla="*/ 2147483647 h 408"/>
                <a:gd name="T56" fmla="*/ 2147483647 w 590"/>
                <a:gd name="T57" fmla="*/ 2147483647 h 408"/>
                <a:gd name="T58" fmla="*/ 0 w 590"/>
                <a:gd name="T59" fmla="*/ 2147483647 h 408"/>
                <a:gd name="T60" fmla="*/ 2147483647 w 590"/>
                <a:gd name="T61" fmla="*/ 2147483647 h 408"/>
                <a:gd name="T62" fmla="*/ 2147483647 w 590"/>
                <a:gd name="T63" fmla="*/ 2147483647 h 408"/>
                <a:gd name="T64" fmla="*/ 2147483647 w 590"/>
                <a:gd name="T65" fmla="*/ 2147483647 h 408"/>
                <a:gd name="T66" fmla="*/ 2147483647 w 590"/>
                <a:gd name="T67" fmla="*/ 2147483647 h 408"/>
                <a:gd name="T68" fmla="*/ 2147483647 w 590"/>
                <a:gd name="T69" fmla="*/ 2147483647 h 408"/>
                <a:gd name="T70" fmla="*/ 2147483647 w 590"/>
                <a:gd name="T71" fmla="*/ 2147483647 h 408"/>
                <a:gd name="T72" fmla="*/ 2147483647 w 590"/>
                <a:gd name="T73" fmla="*/ 2147483647 h 408"/>
                <a:gd name="T74" fmla="*/ 2147483647 w 590"/>
                <a:gd name="T75" fmla="*/ 2147483647 h 408"/>
                <a:gd name="T76" fmla="*/ 2147483647 w 590"/>
                <a:gd name="T77" fmla="*/ 2147483647 h 408"/>
                <a:gd name="T78" fmla="*/ 2147483647 w 590"/>
                <a:gd name="T79" fmla="*/ 2147483647 h 408"/>
                <a:gd name="T80" fmla="*/ 2147483647 w 590"/>
                <a:gd name="T81" fmla="*/ 2147483647 h 408"/>
                <a:gd name="T82" fmla="*/ 2147483647 w 590"/>
                <a:gd name="T83" fmla="*/ 2147483647 h 408"/>
                <a:gd name="T84" fmla="*/ 2147483647 w 590"/>
                <a:gd name="T85" fmla="*/ 2147483647 h 408"/>
                <a:gd name="T86" fmla="*/ 2147483647 w 590"/>
                <a:gd name="T87" fmla="*/ 2147483647 h 408"/>
                <a:gd name="T88" fmla="*/ 2147483647 w 590"/>
                <a:gd name="T89" fmla="*/ 2147483647 h 408"/>
                <a:gd name="T90" fmla="*/ 2147483647 w 590"/>
                <a:gd name="T91" fmla="*/ 2147483647 h 408"/>
                <a:gd name="T92" fmla="*/ 2147483647 w 590"/>
                <a:gd name="T93" fmla="*/ 2147483647 h 408"/>
                <a:gd name="T94" fmla="*/ 2147483647 w 590"/>
                <a:gd name="T95" fmla="*/ 2147483647 h 408"/>
                <a:gd name="T96" fmla="*/ 2147483647 w 590"/>
                <a:gd name="T97" fmla="*/ 2147483647 h 408"/>
                <a:gd name="T98" fmla="*/ 2147483647 w 590"/>
                <a:gd name="T99" fmla="*/ 2147483647 h 408"/>
                <a:gd name="T100" fmla="*/ 2147483647 w 590"/>
                <a:gd name="T101" fmla="*/ 2147483647 h 408"/>
                <a:gd name="T102" fmla="*/ 2147483647 w 590"/>
                <a:gd name="T103" fmla="*/ 2147483647 h 408"/>
                <a:gd name="T104" fmla="*/ 2147483647 w 590"/>
                <a:gd name="T105" fmla="*/ 2147483647 h 408"/>
                <a:gd name="T106" fmla="*/ 2147483647 w 590"/>
                <a:gd name="T107" fmla="*/ 2147483647 h 408"/>
                <a:gd name="T108" fmla="*/ 2147483647 w 590"/>
                <a:gd name="T109" fmla="*/ 2147483647 h 4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0"/>
                <a:gd name="T166" fmla="*/ 0 h 408"/>
                <a:gd name="T167" fmla="*/ 590 w 590"/>
                <a:gd name="T168" fmla="*/ 408 h 4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0" h="408">
                  <a:moveTo>
                    <a:pt x="455" y="256"/>
                  </a:moveTo>
                  <a:lnTo>
                    <a:pt x="489" y="248"/>
                  </a:lnTo>
                  <a:lnTo>
                    <a:pt x="514" y="232"/>
                  </a:lnTo>
                  <a:lnTo>
                    <a:pt x="565" y="240"/>
                  </a:lnTo>
                  <a:lnTo>
                    <a:pt x="590" y="232"/>
                  </a:lnTo>
                  <a:lnTo>
                    <a:pt x="565" y="200"/>
                  </a:lnTo>
                  <a:lnTo>
                    <a:pt x="523" y="176"/>
                  </a:lnTo>
                  <a:lnTo>
                    <a:pt x="548" y="144"/>
                  </a:lnTo>
                  <a:lnTo>
                    <a:pt x="548" y="104"/>
                  </a:lnTo>
                  <a:lnTo>
                    <a:pt x="548" y="72"/>
                  </a:lnTo>
                  <a:lnTo>
                    <a:pt x="573" y="64"/>
                  </a:lnTo>
                  <a:lnTo>
                    <a:pt x="582" y="48"/>
                  </a:lnTo>
                  <a:lnTo>
                    <a:pt x="582" y="32"/>
                  </a:lnTo>
                  <a:lnTo>
                    <a:pt x="582" y="16"/>
                  </a:lnTo>
                  <a:lnTo>
                    <a:pt x="531" y="16"/>
                  </a:lnTo>
                  <a:lnTo>
                    <a:pt x="523" y="0"/>
                  </a:lnTo>
                  <a:lnTo>
                    <a:pt x="481" y="8"/>
                  </a:lnTo>
                  <a:lnTo>
                    <a:pt x="455" y="0"/>
                  </a:lnTo>
                  <a:lnTo>
                    <a:pt x="413" y="8"/>
                  </a:lnTo>
                  <a:lnTo>
                    <a:pt x="363" y="24"/>
                  </a:lnTo>
                  <a:lnTo>
                    <a:pt x="321" y="80"/>
                  </a:lnTo>
                  <a:lnTo>
                    <a:pt x="270" y="88"/>
                  </a:lnTo>
                  <a:lnTo>
                    <a:pt x="219" y="88"/>
                  </a:lnTo>
                  <a:lnTo>
                    <a:pt x="194" y="88"/>
                  </a:lnTo>
                  <a:lnTo>
                    <a:pt x="169" y="112"/>
                  </a:lnTo>
                  <a:lnTo>
                    <a:pt x="76" y="112"/>
                  </a:lnTo>
                  <a:lnTo>
                    <a:pt x="43" y="104"/>
                  </a:lnTo>
                  <a:lnTo>
                    <a:pt x="43" y="80"/>
                  </a:lnTo>
                  <a:lnTo>
                    <a:pt x="9" y="64"/>
                  </a:lnTo>
                  <a:lnTo>
                    <a:pt x="0" y="88"/>
                  </a:lnTo>
                  <a:lnTo>
                    <a:pt x="9" y="120"/>
                  </a:lnTo>
                  <a:lnTo>
                    <a:pt x="26" y="152"/>
                  </a:lnTo>
                  <a:lnTo>
                    <a:pt x="68" y="184"/>
                  </a:lnTo>
                  <a:lnTo>
                    <a:pt x="51" y="224"/>
                  </a:lnTo>
                  <a:lnTo>
                    <a:pt x="34" y="232"/>
                  </a:lnTo>
                  <a:lnTo>
                    <a:pt x="34" y="264"/>
                  </a:lnTo>
                  <a:lnTo>
                    <a:pt x="51" y="272"/>
                  </a:lnTo>
                  <a:lnTo>
                    <a:pt x="43" y="304"/>
                  </a:lnTo>
                  <a:lnTo>
                    <a:pt x="51" y="320"/>
                  </a:lnTo>
                  <a:lnTo>
                    <a:pt x="93" y="336"/>
                  </a:lnTo>
                  <a:lnTo>
                    <a:pt x="110" y="368"/>
                  </a:lnTo>
                  <a:lnTo>
                    <a:pt x="110" y="408"/>
                  </a:lnTo>
                  <a:lnTo>
                    <a:pt x="110" y="400"/>
                  </a:lnTo>
                  <a:lnTo>
                    <a:pt x="152" y="400"/>
                  </a:lnTo>
                  <a:lnTo>
                    <a:pt x="194" y="384"/>
                  </a:lnTo>
                  <a:lnTo>
                    <a:pt x="245" y="352"/>
                  </a:lnTo>
                  <a:lnTo>
                    <a:pt x="278" y="368"/>
                  </a:lnTo>
                  <a:lnTo>
                    <a:pt x="312" y="368"/>
                  </a:lnTo>
                  <a:lnTo>
                    <a:pt x="337" y="368"/>
                  </a:lnTo>
                  <a:lnTo>
                    <a:pt x="396" y="352"/>
                  </a:lnTo>
                  <a:lnTo>
                    <a:pt x="430" y="336"/>
                  </a:lnTo>
                  <a:lnTo>
                    <a:pt x="422" y="296"/>
                  </a:lnTo>
                  <a:lnTo>
                    <a:pt x="447" y="296"/>
                  </a:lnTo>
                  <a:lnTo>
                    <a:pt x="455" y="280"/>
                  </a:lnTo>
                  <a:lnTo>
                    <a:pt x="455" y="256"/>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94" name="Freeform 75"/>
            <p:cNvSpPr>
              <a:spLocks/>
            </p:cNvSpPr>
            <p:nvPr/>
          </p:nvSpPr>
          <p:spPr bwMode="auto">
            <a:xfrm>
              <a:off x="6251575" y="5048250"/>
              <a:ext cx="298450" cy="230188"/>
            </a:xfrm>
            <a:custGeom>
              <a:avLst/>
              <a:gdLst>
                <a:gd name="T0" fmla="*/ 2147483647 w 244"/>
                <a:gd name="T1" fmla="*/ 2147483647 h 192"/>
                <a:gd name="T2" fmla="*/ 2147483647 w 244"/>
                <a:gd name="T3" fmla="*/ 2147483647 h 192"/>
                <a:gd name="T4" fmla="*/ 2147483647 w 244"/>
                <a:gd name="T5" fmla="*/ 0 h 192"/>
                <a:gd name="T6" fmla="*/ 2147483647 w 244"/>
                <a:gd name="T7" fmla="*/ 0 h 192"/>
                <a:gd name="T8" fmla="*/ 2147483647 w 244"/>
                <a:gd name="T9" fmla="*/ 0 h 192"/>
                <a:gd name="T10" fmla="*/ 2147483647 w 244"/>
                <a:gd name="T11" fmla="*/ 2147483647 h 192"/>
                <a:gd name="T12" fmla="*/ 2147483647 w 244"/>
                <a:gd name="T13" fmla="*/ 2147483647 h 192"/>
                <a:gd name="T14" fmla="*/ 2147483647 w 244"/>
                <a:gd name="T15" fmla="*/ 2147483647 h 192"/>
                <a:gd name="T16" fmla="*/ 2147483647 w 244"/>
                <a:gd name="T17" fmla="*/ 2147483647 h 192"/>
                <a:gd name="T18" fmla="*/ 0 w 244"/>
                <a:gd name="T19" fmla="*/ 2147483647 h 192"/>
                <a:gd name="T20" fmla="*/ 0 w 244"/>
                <a:gd name="T21" fmla="*/ 2147483647 h 192"/>
                <a:gd name="T22" fmla="*/ 2147483647 w 244"/>
                <a:gd name="T23" fmla="*/ 2147483647 h 192"/>
                <a:gd name="T24" fmla="*/ 2147483647 w 244"/>
                <a:gd name="T25" fmla="*/ 2147483647 h 192"/>
                <a:gd name="T26" fmla="*/ 2147483647 w 244"/>
                <a:gd name="T27" fmla="*/ 2147483647 h 192"/>
                <a:gd name="T28" fmla="*/ 2147483647 w 244"/>
                <a:gd name="T29" fmla="*/ 2147483647 h 192"/>
                <a:gd name="T30" fmla="*/ 2147483647 w 244"/>
                <a:gd name="T31" fmla="*/ 2147483647 h 192"/>
                <a:gd name="T32" fmla="*/ 2147483647 w 244"/>
                <a:gd name="T33" fmla="*/ 2147483647 h 192"/>
                <a:gd name="T34" fmla="*/ 2147483647 w 244"/>
                <a:gd name="T35" fmla="*/ 2147483647 h 192"/>
                <a:gd name="T36" fmla="*/ 2147483647 w 244"/>
                <a:gd name="T37" fmla="*/ 2147483647 h 192"/>
                <a:gd name="T38" fmla="*/ 2147483647 w 244"/>
                <a:gd name="T39" fmla="*/ 2147483647 h 192"/>
                <a:gd name="T40" fmla="*/ 2147483647 w 244"/>
                <a:gd name="T41" fmla="*/ 2147483647 h 192"/>
                <a:gd name="T42" fmla="*/ 2147483647 w 244"/>
                <a:gd name="T43" fmla="*/ 2147483647 h 192"/>
                <a:gd name="T44" fmla="*/ 2147483647 w 244"/>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4"/>
                <a:gd name="T70" fmla="*/ 0 h 192"/>
                <a:gd name="T71" fmla="*/ 244 w 244"/>
                <a:gd name="T72" fmla="*/ 192 h 19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4" h="192">
                  <a:moveTo>
                    <a:pt x="227" y="32"/>
                  </a:moveTo>
                  <a:lnTo>
                    <a:pt x="185" y="16"/>
                  </a:lnTo>
                  <a:lnTo>
                    <a:pt x="177" y="0"/>
                  </a:lnTo>
                  <a:lnTo>
                    <a:pt x="134" y="0"/>
                  </a:lnTo>
                  <a:lnTo>
                    <a:pt x="75" y="24"/>
                  </a:lnTo>
                  <a:lnTo>
                    <a:pt x="50" y="32"/>
                  </a:lnTo>
                  <a:lnTo>
                    <a:pt x="25" y="40"/>
                  </a:lnTo>
                  <a:lnTo>
                    <a:pt x="16" y="72"/>
                  </a:lnTo>
                  <a:lnTo>
                    <a:pt x="0" y="64"/>
                  </a:lnTo>
                  <a:lnTo>
                    <a:pt x="0" y="88"/>
                  </a:lnTo>
                  <a:lnTo>
                    <a:pt x="8" y="144"/>
                  </a:lnTo>
                  <a:lnTo>
                    <a:pt x="33" y="176"/>
                  </a:lnTo>
                  <a:lnTo>
                    <a:pt x="59" y="184"/>
                  </a:lnTo>
                  <a:lnTo>
                    <a:pt x="67" y="192"/>
                  </a:lnTo>
                  <a:lnTo>
                    <a:pt x="75" y="192"/>
                  </a:lnTo>
                  <a:lnTo>
                    <a:pt x="109" y="176"/>
                  </a:lnTo>
                  <a:lnTo>
                    <a:pt x="134" y="176"/>
                  </a:lnTo>
                  <a:lnTo>
                    <a:pt x="168" y="136"/>
                  </a:lnTo>
                  <a:lnTo>
                    <a:pt x="236" y="128"/>
                  </a:lnTo>
                  <a:lnTo>
                    <a:pt x="244" y="104"/>
                  </a:lnTo>
                  <a:lnTo>
                    <a:pt x="244" y="64"/>
                  </a:lnTo>
                  <a:lnTo>
                    <a:pt x="227" y="32"/>
                  </a:lnTo>
                  <a:close/>
                </a:path>
              </a:pathLst>
            </a:custGeom>
            <a:solidFill>
              <a:schemeClr val="bg1"/>
            </a:solidFill>
            <a:ln w="12700">
              <a:solidFill>
                <a:srgbClr val="000000"/>
              </a:solidFill>
              <a:round/>
              <a:headEnd/>
              <a:tailEnd/>
            </a:ln>
          </p:spPr>
          <p:txBody>
            <a:bodyPr/>
            <a:lstStyle/>
            <a:p>
              <a:endParaRPr lang="en-US"/>
            </a:p>
          </p:txBody>
        </p:sp>
        <p:sp>
          <p:nvSpPr>
            <p:cNvPr id="34895" name="Freeform 76"/>
            <p:cNvSpPr>
              <a:spLocks/>
            </p:cNvSpPr>
            <p:nvPr/>
          </p:nvSpPr>
          <p:spPr bwMode="auto">
            <a:xfrm>
              <a:off x="6415088" y="4684713"/>
              <a:ext cx="722313" cy="488950"/>
            </a:xfrm>
            <a:custGeom>
              <a:avLst/>
              <a:gdLst>
                <a:gd name="T0" fmla="*/ 2147483647 w 590"/>
                <a:gd name="T1" fmla="*/ 2147483647 h 408"/>
                <a:gd name="T2" fmla="*/ 2147483647 w 590"/>
                <a:gd name="T3" fmla="*/ 2147483647 h 408"/>
                <a:gd name="T4" fmla="*/ 2147483647 w 590"/>
                <a:gd name="T5" fmla="*/ 2147483647 h 408"/>
                <a:gd name="T6" fmla="*/ 2147483647 w 590"/>
                <a:gd name="T7" fmla="*/ 2147483647 h 408"/>
                <a:gd name="T8" fmla="*/ 2147483647 w 590"/>
                <a:gd name="T9" fmla="*/ 2147483647 h 408"/>
                <a:gd name="T10" fmla="*/ 2147483647 w 590"/>
                <a:gd name="T11" fmla="*/ 2147483647 h 408"/>
                <a:gd name="T12" fmla="*/ 2147483647 w 590"/>
                <a:gd name="T13" fmla="*/ 2147483647 h 408"/>
                <a:gd name="T14" fmla="*/ 2147483647 w 590"/>
                <a:gd name="T15" fmla="*/ 2147483647 h 408"/>
                <a:gd name="T16" fmla="*/ 2147483647 w 590"/>
                <a:gd name="T17" fmla="*/ 2147483647 h 408"/>
                <a:gd name="T18" fmla="*/ 2147483647 w 590"/>
                <a:gd name="T19" fmla="*/ 2147483647 h 408"/>
                <a:gd name="T20" fmla="*/ 2147483647 w 590"/>
                <a:gd name="T21" fmla="*/ 2147483647 h 408"/>
                <a:gd name="T22" fmla="*/ 2147483647 w 590"/>
                <a:gd name="T23" fmla="*/ 2147483647 h 408"/>
                <a:gd name="T24" fmla="*/ 2147483647 w 590"/>
                <a:gd name="T25" fmla="*/ 2147483647 h 408"/>
                <a:gd name="T26" fmla="*/ 2147483647 w 590"/>
                <a:gd name="T27" fmla="*/ 2147483647 h 408"/>
                <a:gd name="T28" fmla="*/ 2147483647 w 590"/>
                <a:gd name="T29" fmla="*/ 2147483647 h 408"/>
                <a:gd name="T30" fmla="*/ 2147483647 w 590"/>
                <a:gd name="T31" fmla="*/ 0 h 408"/>
                <a:gd name="T32" fmla="*/ 2147483647 w 590"/>
                <a:gd name="T33" fmla="*/ 2147483647 h 408"/>
                <a:gd name="T34" fmla="*/ 2147483647 w 590"/>
                <a:gd name="T35" fmla="*/ 0 h 408"/>
                <a:gd name="T36" fmla="*/ 2147483647 w 590"/>
                <a:gd name="T37" fmla="*/ 2147483647 h 408"/>
                <a:gd name="T38" fmla="*/ 2147483647 w 590"/>
                <a:gd name="T39" fmla="*/ 2147483647 h 408"/>
                <a:gd name="T40" fmla="*/ 2147483647 w 590"/>
                <a:gd name="T41" fmla="*/ 2147483647 h 408"/>
                <a:gd name="T42" fmla="*/ 2147483647 w 590"/>
                <a:gd name="T43" fmla="*/ 2147483647 h 408"/>
                <a:gd name="T44" fmla="*/ 2147483647 w 590"/>
                <a:gd name="T45" fmla="*/ 2147483647 h 408"/>
                <a:gd name="T46" fmla="*/ 2147483647 w 590"/>
                <a:gd name="T47" fmla="*/ 2147483647 h 408"/>
                <a:gd name="T48" fmla="*/ 2147483647 w 590"/>
                <a:gd name="T49" fmla="*/ 2147483647 h 408"/>
                <a:gd name="T50" fmla="*/ 2147483647 w 590"/>
                <a:gd name="T51" fmla="*/ 2147483647 h 408"/>
                <a:gd name="T52" fmla="*/ 2147483647 w 590"/>
                <a:gd name="T53" fmla="*/ 2147483647 h 408"/>
                <a:gd name="T54" fmla="*/ 2147483647 w 590"/>
                <a:gd name="T55" fmla="*/ 2147483647 h 408"/>
                <a:gd name="T56" fmla="*/ 2147483647 w 590"/>
                <a:gd name="T57" fmla="*/ 2147483647 h 408"/>
                <a:gd name="T58" fmla="*/ 0 w 590"/>
                <a:gd name="T59" fmla="*/ 2147483647 h 408"/>
                <a:gd name="T60" fmla="*/ 2147483647 w 590"/>
                <a:gd name="T61" fmla="*/ 2147483647 h 408"/>
                <a:gd name="T62" fmla="*/ 2147483647 w 590"/>
                <a:gd name="T63" fmla="*/ 2147483647 h 408"/>
                <a:gd name="T64" fmla="*/ 2147483647 w 590"/>
                <a:gd name="T65" fmla="*/ 2147483647 h 408"/>
                <a:gd name="T66" fmla="*/ 2147483647 w 590"/>
                <a:gd name="T67" fmla="*/ 2147483647 h 408"/>
                <a:gd name="T68" fmla="*/ 2147483647 w 590"/>
                <a:gd name="T69" fmla="*/ 2147483647 h 408"/>
                <a:gd name="T70" fmla="*/ 2147483647 w 590"/>
                <a:gd name="T71" fmla="*/ 2147483647 h 408"/>
                <a:gd name="T72" fmla="*/ 2147483647 w 590"/>
                <a:gd name="T73" fmla="*/ 2147483647 h 408"/>
                <a:gd name="T74" fmla="*/ 2147483647 w 590"/>
                <a:gd name="T75" fmla="*/ 2147483647 h 408"/>
                <a:gd name="T76" fmla="*/ 2147483647 w 590"/>
                <a:gd name="T77" fmla="*/ 2147483647 h 408"/>
                <a:gd name="T78" fmla="*/ 2147483647 w 590"/>
                <a:gd name="T79" fmla="*/ 2147483647 h 408"/>
                <a:gd name="T80" fmla="*/ 2147483647 w 590"/>
                <a:gd name="T81" fmla="*/ 2147483647 h 408"/>
                <a:gd name="T82" fmla="*/ 2147483647 w 590"/>
                <a:gd name="T83" fmla="*/ 2147483647 h 408"/>
                <a:gd name="T84" fmla="*/ 2147483647 w 590"/>
                <a:gd name="T85" fmla="*/ 2147483647 h 408"/>
                <a:gd name="T86" fmla="*/ 2147483647 w 590"/>
                <a:gd name="T87" fmla="*/ 2147483647 h 408"/>
                <a:gd name="T88" fmla="*/ 2147483647 w 590"/>
                <a:gd name="T89" fmla="*/ 2147483647 h 408"/>
                <a:gd name="T90" fmla="*/ 2147483647 w 590"/>
                <a:gd name="T91" fmla="*/ 2147483647 h 408"/>
                <a:gd name="T92" fmla="*/ 2147483647 w 590"/>
                <a:gd name="T93" fmla="*/ 2147483647 h 408"/>
                <a:gd name="T94" fmla="*/ 2147483647 w 590"/>
                <a:gd name="T95" fmla="*/ 2147483647 h 408"/>
                <a:gd name="T96" fmla="*/ 2147483647 w 590"/>
                <a:gd name="T97" fmla="*/ 2147483647 h 408"/>
                <a:gd name="T98" fmla="*/ 2147483647 w 590"/>
                <a:gd name="T99" fmla="*/ 2147483647 h 408"/>
                <a:gd name="T100" fmla="*/ 2147483647 w 590"/>
                <a:gd name="T101" fmla="*/ 2147483647 h 408"/>
                <a:gd name="T102" fmla="*/ 2147483647 w 590"/>
                <a:gd name="T103" fmla="*/ 2147483647 h 408"/>
                <a:gd name="T104" fmla="*/ 2147483647 w 590"/>
                <a:gd name="T105" fmla="*/ 2147483647 h 408"/>
                <a:gd name="T106" fmla="*/ 2147483647 w 590"/>
                <a:gd name="T107" fmla="*/ 2147483647 h 408"/>
                <a:gd name="T108" fmla="*/ 2147483647 w 590"/>
                <a:gd name="T109" fmla="*/ 2147483647 h 408"/>
                <a:gd name="T110" fmla="*/ 2147483647 w 590"/>
                <a:gd name="T111" fmla="*/ 2147483647 h 4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0"/>
                <a:gd name="T169" fmla="*/ 0 h 408"/>
                <a:gd name="T170" fmla="*/ 590 w 590"/>
                <a:gd name="T171" fmla="*/ 408 h 4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0" h="408">
                  <a:moveTo>
                    <a:pt x="455" y="256"/>
                  </a:moveTo>
                  <a:lnTo>
                    <a:pt x="489" y="248"/>
                  </a:lnTo>
                  <a:lnTo>
                    <a:pt x="514" y="232"/>
                  </a:lnTo>
                  <a:lnTo>
                    <a:pt x="565" y="240"/>
                  </a:lnTo>
                  <a:lnTo>
                    <a:pt x="590" y="232"/>
                  </a:lnTo>
                  <a:lnTo>
                    <a:pt x="565" y="200"/>
                  </a:lnTo>
                  <a:lnTo>
                    <a:pt x="523" y="176"/>
                  </a:lnTo>
                  <a:lnTo>
                    <a:pt x="548" y="144"/>
                  </a:lnTo>
                  <a:lnTo>
                    <a:pt x="548" y="104"/>
                  </a:lnTo>
                  <a:lnTo>
                    <a:pt x="548" y="72"/>
                  </a:lnTo>
                  <a:lnTo>
                    <a:pt x="573" y="64"/>
                  </a:lnTo>
                  <a:lnTo>
                    <a:pt x="582" y="48"/>
                  </a:lnTo>
                  <a:lnTo>
                    <a:pt x="582" y="32"/>
                  </a:lnTo>
                  <a:lnTo>
                    <a:pt x="582" y="16"/>
                  </a:lnTo>
                  <a:lnTo>
                    <a:pt x="531" y="16"/>
                  </a:lnTo>
                  <a:lnTo>
                    <a:pt x="523" y="0"/>
                  </a:lnTo>
                  <a:lnTo>
                    <a:pt x="481" y="8"/>
                  </a:lnTo>
                  <a:lnTo>
                    <a:pt x="455" y="0"/>
                  </a:lnTo>
                  <a:lnTo>
                    <a:pt x="413" y="8"/>
                  </a:lnTo>
                  <a:lnTo>
                    <a:pt x="363" y="24"/>
                  </a:lnTo>
                  <a:lnTo>
                    <a:pt x="321" y="80"/>
                  </a:lnTo>
                  <a:lnTo>
                    <a:pt x="270" y="88"/>
                  </a:lnTo>
                  <a:lnTo>
                    <a:pt x="219" y="88"/>
                  </a:lnTo>
                  <a:lnTo>
                    <a:pt x="194" y="88"/>
                  </a:lnTo>
                  <a:lnTo>
                    <a:pt x="169" y="112"/>
                  </a:lnTo>
                  <a:lnTo>
                    <a:pt x="76" y="112"/>
                  </a:lnTo>
                  <a:lnTo>
                    <a:pt x="43" y="104"/>
                  </a:lnTo>
                  <a:lnTo>
                    <a:pt x="43" y="80"/>
                  </a:lnTo>
                  <a:lnTo>
                    <a:pt x="9" y="64"/>
                  </a:lnTo>
                  <a:lnTo>
                    <a:pt x="0" y="88"/>
                  </a:lnTo>
                  <a:lnTo>
                    <a:pt x="9" y="120"/>
                  </a:lnTo>
                  <a:lnTo>
                    <a:pt x="26" y="152"/>
                  </a:lnTo>
                  <a:lnTo>
                    <a:pt x="68" y="184"/>
                  </a:lnTo>
                  <a:lnTo>
                    <a:pt x="51" y="224"/>
                  </a:lnTo>
                  <a:lnTo>
                    <a:pt x="34" y="232"/>
                  </a:lnTo>
                  <a:lnTo>
                    <a:pt x="34" y="264"/>
                  </a:lnTo>
                  <a:lnTo>
                    <a:pt x="51" y="272"/>
                  </a:lnTo>
                  <a:lnTo>
                    <a:pt x="43" y="304"/>
                  </a:lnTo>
                  <a:lnTo>
                    <a:pt x="51" y="320"/>
                  </a:lnTo>
                  <a:lnTo>
                    <a:pt x="93" y="336"/>
                  </a:lnTo>
                  <a:lnTo>
                    <a:pt x="110" y="368"/>
                  </a:lnTo>
                  <a:lnTo>
                    <a:pt x="110" y="408"/>
                  </a:lnTo>
                  <a:lnTo>
                    <a:pt x="110" y="400"/>
                  </a:lnTo>
                  <a:lnTo>
                    <a:pt x="152" y="400"/>
                  </a:lnTo>
                  <a:lnTo>
                    <a:pt x="194" y="384"/>
                  </a:lnTo>
                  <a:lnTo>
                    <a:pt x="245" y="352"/>
                  </a:lnTo>
                  <a:lnTo>
                    <a:pt x="278" y="368"/>
                  </a:lnTo>
                  <a:lnTo>
                    <a:pt x="312" y="368"/>
                  </a:lnTo>
                  <a:lnTo>
                    <a:pt x="337" y="368"/>
                  </a:lnTo>
                  <a:lnTo>
                    <a:pt x="396" y="352"/>
                  </a:lnTo>
                  <a:lnTo>
                    <a:pt x="430" y="336"/>
                  </a:lnTo>
                  <a:lnTo>
                    <a:pt x="422" y="296"/>
                  </a:lnTo>
                  <a:lnTo>
                    <a:pt x="447" y="296"/>
                  </a:lnTo>
                  <a:lnTo>
                    <a:pt x="455" y="280"/>
                  </a:lnTo>
                  <a:lnTo>
                    <a:pt x="455" y="256"/>
                  </a:lnTo>
                  <a:close/>
                </a:path>
              </a:pathLst>
            </a:custGeom>
            <a:solidFill>
              <a:schemeClr val="bg1"/>
            </a:solidFill>
            <a:ln w="12700">
              <a:solidFill>
                <a:srgbClr val="000000"/>
              </a:solidFill>
              <a:round/>
              <a:headEnd/>
              <a:tailEnd/>
            </a:ln>
          </p:spPr>
          <p:txBody>
            <a:bodyPr/>
            <a:lstStyle/>
            <a:p>
              <a:endParaRPr lang="en-US"/>
            </a:p>
          </p:txBody>
        </p:sp>
        <p:sp>
          <p:nvSpPr>
            <p:cNvPr id="34896" name="Freeform 77"/>
            <p:cNvSpPr>
              <a:spLocks/>
            </p:cNvSpPr>
            <p:nvPr/>
          </p:nvSpPr>
          <p:spPr bwMode="auto">
            <a:xfrm>
              <a:off x="6953250" y="4962525"/>
              <a:ext cx="444500" cy="738188"/>
            </a:xfrm>
            <a:custGeom>
              <a:avLst/>
              <a:gdLst>
                <a:gd name="T0" fmla="*/ 2147483647 w 364"/>
                <a:gd name="T1" fmla="*/ 2147483647 h 616"/>
                <a:gd name="T2" fmla="*/ 2147483647 w 364"/>
                <a:gd name="T3" fmla="*/ 0 h 616"/>
                <a:gd name="T4" fmla="*/ 2147483647 w 364"/>
                <a:gd name="T5" fmla="*/ 0 h 616"/>
                <a:gd name="T6" fmla="*/ 2147483647 w 364"/>
                <a:gd name="T7" fmla="*/ 2147483647 h 616"/>
                <a:gd name="T8" fmla="*/ 2147483647 w 364"/>
                <a:gd name="T9" fmla="*/ 2147483647 h 616"/>
                <a:gd name="T10" fmla="*/ 2147483647 w 364"/>
                <a:gd name="T11" fmla="*/ 2147483647 h 616"/>
                <a:gd name="T12" fmla="*/ 0 w 364"/>
                <a:gd name="T13" fmla="*/ 2147483647 h 616"/>
                <a:gd name="T14" fmla="*/ 2147483647 w 364"/>
                <a:gd name="T15" fmla="*/ 2147483647 h 616"/>
                <a:gd name="T16" fmla="*/ 2147483647 w 364"/>
                <a:gd name="T17" fmla="*/ 2147483647 h 616"/>
                <a:gd name="T18" fmla="*/ 2147483647 w 364"/>
                <a:gd name="T19" fmla="*/ 2147483647 h 616"/>
                <a:gd name="T20" fmla="*/ 2147483647 w 364"/>
                <a:gd name="T21" fmla="*/ 2147483647 h 616"/>
                <a:gd name="T22" fmla="*/ 2147483647 w 364"/>
                <a:gd name="T23" fmla="*/ 2147483647 h 616"/>
                <a:gd name="T24" fmla="*/ 2147483647 w 364"/>
                <a:gd name="T25" fmla="*/ 2147483647 h 616"/>
                <a:gd name="T26" fmla="*/ 2147483647 w 364"/>
                <a:gd name="T27" fmla="*/ 2147483647 h 616"/>
                <a:gd name="T28" fmla="*/ 2147483647 w 364"/>
                <a:gd name="T29" fmla="*/ 2147483647 h 616"/>
                <a:gd name="T30" fmla="*/ 2147483647 w 364"/>
                <a:gd name="T31" fmla="*/ 2147483647 h 616"/>
                <a:gd name="T32" fmla="*/ 2147483647 w 364"/>
                <a:gd name="T33" fmla="*/ 2147483647 h 616"/>
                <a:gd name="T34" fmla="*/ 2147483647 w 364"/>
                <a:gd name="T35" fmla="*/ 2147483647 h 616"/>
                <a:gd name="T36" fmla="*/ 2147483647 w 364"/>
                <a:gd name="T37" fmla="*/ 2147483647 h 616"/>
                <a:gd name="T38" fmla="*/ 2147483647 w 364"/>
                <a:gd name="T39" fmla="*/ 2147483647 h 616"/>
                <a:gd name="T40" fmla="*/ 2147483647 w 364"/>
                <a:gd name="T41" fmla="*/ 2147483647 h 616"/>
                <a:gd name="T42" fmla="*/ 2147483647 w 364"/>
                <a:gd name="T43" fmla="*/ 2147483647 h 616"/>
                <a:gd name="T44" fmla="*/ 2147483647 w 364"/>
                <a:gd name="T45" fmla="*/ 2147483647 h 616"/>
                <a:gd name="T46" fmla="*/ 2147483647 w 364"/>
                <a:gd name="T47" fmla="*/ 2147483647 h 616"/>
                <a:gd name="T48" fmla="*/ 2147483647 w 364"/>
                <a:gd name="T49" fmla="*/ 2147483647 h 616"/>
                <a:gd name="T50" fmla="*/ 2147483647 w 364"/>
                <a:gd name="T51" fmla="*/ 2147483647 h 616"/>
                <a:gd name="T52" fmla="*/ 2147483647 w 364"/>
                <a:gd name="T53" fmla="*/ 2147483647 h 616"/>
                <a:gd name="T54" fmla="*/ 2147483647 w 364"/>
                <a:gd name="T55" fmla="*/ 2147483647 h 616"/>
                <a:gd name="T56" fmla="*/ 2147483647 w 364"/>
                <a:gd name="T57" fmla="*/ 2147483647 h 616"/>
                <a:gd name="T58" fmla="*/ 2147483647 w 364"/>
                <a:gd name="T59" fmla="*/ 2147483647 h 616"/>
                <a:gd name="T60" fmla="*/ 2147483647 w 364"/>
                <a:gd name="T61" fmla="*/ 2147483647 h 616"/>
                <a:gd name="T62" fmla="*/ 2147483647 w 364"/>
                <a:gd name="T63" fmla="*/ 2147483647 h 616"/>
                <a:gd name="T64" fmla="*/ 2147483647 w 364"/>
                <a:gd name="T65" fmla="*/ 2147483647 h 616"/>
                <a:gd name="T66" fmla="*/ 2147483647 w 364"/>
                <a:gd name="T67" fmla="*/ 2147483647 h 6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4"/>
                <a:gd name="T103" fmla="*/ 0 h 616"/>
                <a:gd name="T104" fmla="*/ 364 w 364"/>
                <a:gd name="T105" fmla="*/ 616 h 6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4" h="616">
                  <a:moveTo>
                    <a:pt x="303" y="56"/>
                  </a:moveTo>
                  <a:lnTo>
                    <a:pt x="219" y="40"/>
                  </a:lnTo>
                  <a:lnTo>
                    <a:pt x="185" y="24"/>
                  </a:lnTo>
                  <a:lnTo>
                    <a:pt x="151" y="0"/>
                  </a:lnTo>
                  <a:lnTo>
                    <a:pt x="126" y="8"/>
                  </a:lnTo>
                  <a:lnTo>
                    <a:pt x="75" y="0"/>
                  </a:lnTo>
                  <a:lnTo>
                    <a:pt x="50" y="16"/>
                  </a:lnTo>
                  <a:lnTo>
                    <a:pt x="16" y="24"/>
                  </a:lnTo>
                  <a:lnTo>
                    <a:pt x="16" y="48"/>
                  </a:lnTo>
                  <a:lnTo>
                    <a:pt x="8" y="64"/>
                  </a:lnTo>
                  <a:lnTo>
                    <a:pt x="33" y="88"/>
                  </a:lnTo>
                  <a:lnTo>
                    <a:pt x="16" y="136"/>
                  </a:lnTo>
                  <a:lnTo>
                    <a:pt x="25" y="160"/>
                  </a:lnTo>
                  <a:lnTo>
                    <a:pt x="0" y="192"/>
                  </a:lnTo>
                  <a:lnTo>
                    <a:pt x="0" y="200"/>
                  </a:lnTo>
                  <a:lnTo>
                    <a:pt x="67" y="184"/>
                  </a:lnTo>
                  <a:lnTo>
                    <a:pt x="42" y="216"/>
                  </a:lnTo>
                  <a:lnTo>
                    <a:pt x="33" y="256"/>
                  </a:lnTo>
                  <a:lnTo>
                    <a:pt x="50" y="328"/>
                  </a:lnTo>
                  <a:lnTo>
                    <a:pt x="118" y="312"/>
                  </a:lnTo>
                  <a:lnTo>
                    <a:pt x="118" y="352"/>
                  </a:lnTo>
                  <a:lnTo>
                    <a:pt x="160" y="384"/>
                  </a:lnTo>
                  <a:lnTo>
                    <a:pt x="151" y="408"/>
                  </a:lnTo>
                  <a:lnTo>
                    <a:pt x="168" y="432"/>
                  </a:lnTo>
                  <a:lnTo>
                    <a:pt x="134" y="448"/>
                  </a:lnTo>
                  <a:lnTo>
                    <a:pt x="101" y="440"/>
                  </a:lnTo>
                  <a:lnTo>
                    <a:pt x="101" y="472"/>
                  </a:lnTo>
                  <a:lnTo>
                    <a:pt x="126" y="496"/>
                  </a:lnTo>
                  <a:lnTo>
                    <a:pt x="151" y="480"/>
                  </a:lnTo>
                  <a:lnTo>
                    <a:pt x="168" y="480"/>
                  </a:lnTo>
                  <a:lnTo>
                    <a:pt x="185" y="488"/>
                  </a:lnTo>
                  <a:lnTo>
                    <a:pt x="219" y="504"/>
                  </a:lnTo>
                  <a:lnTo>
                    <a:pt x="227" y="528"/>
                  </a:lnTo>
                  <a:lnTo>
                    <a:pt x="235" y="560"/>
                  </a:lnTo>
                  <a:lnTo>
                    <a:pt x="269" y="576"/>
                  </a:lnTo>
                  <a:lnTo>
                    <a:pt x="244" y="592"/>
                  </a:lnTo>
                  <a:lnTo>
                    <a:pt x="244" y="600"/>
                  </a:lnTo>
                  <a:lnTo>
                    <a:pt x="261" y="600"/>
                  </a:lnTo>
                  <a:lnTo>
                    <a:pt x="345" y="584"/>
                  </a:lnTo>
                  <a:lnTo>
                    <a:pt x="337" y="616"/>
                  </a:lnTo>
                  <a:lnTo>
                    <a:pt x="364" y="602"/>
                  </a:lnTo>
                  <a:lnTo>
                    <a:pt x="360" y="578"/>
                  </a:lnTo>
                  <a:lnTo>
                    <a:pt x="354" y="56"/>
                  </a:lnTo>
                  <a:lnTo>
                    <a:pt x="303" y="56"/>
                  </a:lnTo>
                  <a:lnTo>
                    <a:pt x="286" y="136"/>
                  </a:lnTo>
                  <a:lnTo>
                    <a:pt x="320" y="152"/>
                  </a:lnTo>
                  <a:lnTo>
                    <a:pt x="286" y="168"/>
                  </a:lnTo>
                  <a:lnTo>
                    <a:pt x="244" y="168"/>
                  </a:lnTo>
                  <a:lnTo>
                    <a:pt x="176" y="200"/>
                  </a:lnTo>
                  <a:lnTo>
                    <a:pt x="151" y="200"/>
                  </a:lnTo>
                  <a:lnTo>
                    <a:pt x="134" y="200"/>
                  </a:lnTo>
                  <a:lnTo>
                    <a:pt x="92" y="208"/>
                  </a:lnTo>
                  <a:lnTo>
                    <a:pt x="67" y="232"/>
                  </a:lnTo>
                  <a:lnTo>
                    <a:pt x="42" y="264"/>
                  </a:lnTo>
                  <a:lnTo>
                    <a:pt x="42" y="248"/>
                  </a:lnTo>
                  <a:lnTo>
                    <a:pt x="59" y="232"/>
                  </a:lnTo>
                  <a:lnTo>
                    <a:pt x="84" y="200"/>
                  </a:lnTo>
                  <a:lnTo>
                    <a:pt x="126" y="168"/>
                  </a:lnTo>
                  <a:lnTo>
                    <a:pt x="134" y="120"/>
                  </a:lnTo>
                  <a:lnTo>
                    <a:pt x="185" y="104"/>
                  </a:lnTo>
                  <a:lnTo>
                    <a:pt x="235" y="96"/>
                  </a:lnTo>
                  <a:lnTo>
                    <a:pt x="286" y="80"/>
                  </a:lnTo>
                  <a:lnTo>
                    <a:pt x="294" y="80"/>
                  </a:lnTo>
                  <a:lnTo>
                    <a:pt x="303" y="96"/>
                  </a:lnTo>
                  <a:lnTo>
                    <a:pt x="345" y="104"/>
                  </a:lnTo>
                  <a:lnTo>
                    <a:pt x="328" y="112"/>
                  </a:lnTo>
                  <a:lnTo>
                    <a:pt x="286" y="136"/>
                  </a:lnTo>
                  <a:lnTo>
                    <a:pt x="303" y="56"/>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897" name="Freeform 78"/>
            <p:cNvSpPr>
              <a:spLocks/>
            </p:cNvSpPr>
            <p:nvPr/>
          </p:nvSpPr>
          <p:spPr bwMode="auto">
            <a:xfrm>
              <a:off x="6953250" y="4962525"/>
              <a:ext cx="442913" cy="738188"/>
            </a:xfrm>
            <a:custGeom>
              <a:avLst/>
              <a:gdLst>
                <a:gd name="T0" fmla="*/ 2147483647 w 362"/>
                <a:gd name="T1" fmla="*/ 2147483647 h 616"/>
                <a:gd name="T2" fmla="*/ 2147483647 w 362"/>
                <a:gd name="T3" fmla="*/ 2147483647 h 616"/>
                <a:gd name="T4" fmla="*/ 2147483647 w 362"/>
                <a:gd name="T5" fmla="*/ 2147483647 h 616"/>
                <a:gd name="T6" fmla="*/ 2147483647 w 362"/>
                <a:gd name="T7" fmla="*/ 0 h 616"/>
                <a:gd name="T8" fmla="*/ 2147483647 w 362"/>
                <a:gd name="T9" fmla="*/ 2147483647 h 616"/>
                <a:gd name="T10" fmla="*/ 2147483647 w 362"/>
                <a:gd name="T11" fmla="*/ 0 h 616"/>
                <a:gd name="T12" fmla="*/ 2147483647 w 362"/>
                <a:gd name="T13" fmla="*/ 2147483647 h 616"/>
                <a:gd name="T14" fmla="*/ 2147483647 w 362"/>
                <a:gd name="T15" fmla="*/ 2147483647 h 616"/>
                <a:gd name="T16" fmla="*/ 2147483647 w 362"/>
                <a:gd name="T17" fmla="*/ 2147483647 h 616"/>
                <a:gd name="T18" fmla="*/ 2147483647 w 362"/>
                <a:gd name="T19" fmla="*/ 2147483647 h 616"/>
                <a:gd name="T20" fmla="*/ 2147483647 w 362"/>
                <a:gd name="T21" fmla="*/ 2147483647 h 616"/>
                <a:gd name="T22" fmla="*/ 2147483647 w 362"/>
                <a:gd name="T23" fmla="*/ 2147483647 h 616"/>
                <a:gd name="T24" fmla="*/ 2147483647 w 362"/>
                <a:gd name="T25" fmla="*/ 2147483647 h 616"/>
                <a:gd name="T26" fmla="*/ 0 w 362"/>
                <a:gd name="T27" fmla="*/ 2147483647 h 616"/>
                <a:gd name="T28" fmla="*/ 0 w 362"/>
                <a:gd name="T29" fmla="*/ 2147483647 h 616"/>
                <a:gd name="T30" fmla="*/ 2147483647 w 362"/>
                <a:gd name="T31" fmla="*/ 2147483647 h 616"/>
                <a:gd name="T32" fmla="*/ 2147483647 w 362"/>
                <a:gd name="T33" fmla="*/ 2147483647 h 616"/>
                <a:gd name="T34" fmla="*/ 2147483647 w 362"/>
                <a:gd name="T35" fmla="*/ 2147483647 h 616"/>
                <a:gd name="T36" fmla="*/ 2147483647 w 362"/>
                <a:gd name="T37" fmla="*/ 2147483647 h 616"/>
                <a:gd name="T38" fmla="*/ 2147483647 w 362"/>
                <a:gd name="T39" fmla="*/ 2147483647 h 616"/>
                <a:gd name="T40" fmla="*/ 2147483647 w 362"/>
                <a:gd name="T41" fmla="*/ 2147483647 h 616"/>
                <a:gd name="T42" fmla="*/ 2147483647 w 362"/>
                <a:gd name="T43" fmla="*/ 2147483647 h 616"/>
                <a:gd name="T44" fmla="*/ 2147483647 w 362"/>
                <a:gd name="T45" fmla="*/ 2147483647 h 616"/>
                <a:gd name="T46" fmla="*/ 2147483647 w 362"/>
                <a:gd name="T47" fmla="*/ 2147483647 h 616"/>
                <a:gd name="T48" fmla="*/ 2147483647 w 362"/>
                <a:gd name="T49" fmla="*/ 2147483647 h 616"/>
                <a:gd name="T50" fmla="*/ 2147483647 w 362"/>
                <a:gd name="T51" fmla="*/ 2147483647 h 616"/>
                <a:gd name="T52" fmla="*/ 2147483647 w 362"/>
                <a:gd name="T53" fmla="*/ 2147483647 h 616"/>
                <a:gd name="T54" fmla="*/ 2147483647 w 362"/>
                <a:gd name="T55" fmla="*/ 2147483647 h 616"/>
                <a:gd name="T56" fmla="*/ 2147483647 w 362"/>
                <a:gd name="T57" fmla="*/ 2147483647 h 616"/>
                <a:gd name="T58" fmla="*/ 2147483647 w 362"/>
                <a:gd name="T59" fmla="*/ 2147483647 h 616"/>
                <a:gd name="T60" fmla="*/ 2147483647 w 362"/>
                <a:gd name="T61" fmla="*/ 2147483647 h 616"/>
                <a:gd name="T62" fmla="*/ 2147483647 w 362"/>
                <a:gd name="T63" fmla="*/ 2147483647 h 616"/>
                <a:gd name="T64" fmla="*/ 2147483647 w 362"/>
                <a:gd name="T65" fmla="*/ 2147483647 h 616"/>
                <a:gd name="T66" fmla="*/ 2147483647 w 362"/>
                <a:gd name="T67" fmla="*/ 2147483647 h 616"/>
                <a:gd name="T68" fmla="*/ 2147483647 w 362"/>
                <a:gd name="T69" fmla="*/ 2147483647 h 616"/>
                <a:gd name="T70" fmla="*/ 2147483647 w 362"/>
                <a:gd name="T71" fmla="*/ 2147483647 h 616"/>
                <a:gd name="T72" fmla="*/ 2147483647 w 362"/>
                <a:gd name="T73" fmla="*/ 2147483647 h 616"/>
                <a:gd name="T74" fmla="*/ 2147483647 w 362"/>
                <a:gd name="T75" fmla="*/ 2147483647 h 616"/>
                <a:gd name="T76" fmla="*/ 2147483647 w 362"/>
                <a:gd name="T77" fmla="*/ 2147483647 h 616"/>
                <a:gd name="T78" fmla="*/ 2147483647 w 362"/>
                <a:gd name="T79" fmla="*/ 2147483647 h 616"/>
                <a:gd name="T80" fmla="*/ 2147483647 w 362"/>
                <a:gd name="T81" fmla="*/ 2147483647 h 616"/>
                <a:gd name="T82" fmla="*/ 2147483647 w 362"/>
                <a:gd name="T83" fmla="*/ 2147483647 h 616"/>
                <a:gd name="T84" fmla="*/ 2147483647 w 362"/>
                <a:gd name="T85" fmla="*/ 2147483647 h 616"/>
                <a:gd name="T86" fmla="*/ 2147483647 w 362"/>
                <a:gd name="T87" fmla="*/ 2147483647 h 6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62"/>
                <a:gd name="T133" fmla="*/ 0 h 616"/>
                <a:gd name="T134" fmla="*/ 362 w 362"/>
                <a:gd name="T135" fmla="*/ 616 h 6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62" h="616">
                  <a:moveTo>
                    <a:pt x="303" y="56"/>
                  </a:moveTo>
                  <a:lnTo>
                    <a:pt x="219" y="40"/>
                  </a:lnTo>
                  <a:lnTo>
                    <a:pt x="185" y="24"/>
                  </a:lnTo>
                  <a:lnTo>
                    <a:pt x="151" y="0"/>
                  </a:lnTo>
                  <a:lnTo>
                    <a:pt x="126" y="8"/>
                  </a:lnTo>
                  <a:lnTo>
                    <a:pt x="75" y="0"/>
                  </a:lnTo>
                  <a:lnTo>
                    <a:pt x="50" y="16"/>
                  </a:lnTo>
                  <a:lnTo>
                    <a:pt x="16" y="24"/>
                  </a:lnTo>
                  <a:lnTo>
                    <a:pt x="16" y="48"/>
                  </a:lnTo>
                  <a:lnTo>
                    <a:pt x="8" y="64"/>
                  </a:lnTo>
                  <a:lnTo>
                    <a:pt x="33" y="88"/>
                  </a:lnTo>
                  <a:lnTo>
                    <a:pt x="16" y="136"/>
                  </a:lnTo>
                  <a:lnTo>
                    <a:pt x="25" y="160"/>
                  </a:lnTo>
                  <a:lnTo>
                    <a:pt x="0" y="192"/>
                  </a:lnTo>
                  <a:lnTo>
                    <a:pt x="0" y="200"/>
                  </a:lnTo>
                  <a:lnTo>
                    <a:pt x="67" y="184"/>
                  </a:lnTo>
                  <a:lnTo>
                    <a:pt x="42" y="216"/>
                  </a:lnTo>
                  <a:lnTo>
                    <a:pt x="33" y="256"/>
                  </a:lnTo>
                  <a:lnTo>
                    <a:pt x="50" y="328"/>
                  </a:lnTo>
                  <a:lnTo>
                    <a:pt x="118" y="312"/>
                  </a:lnTo>
                  <a:lnTo>
                    <a:pt x="118" y="352"/>
                  </a:lnTo>
                  <a:lnTo>
                    <a:pt x="160" y="384"/>
                  </a:lnTo>
                  <a:lnTo>
                    <a:pt x="151" y="408"/>
                  </a:lnTo>
                  <a:lnTo>
                    <a:pt x="168" y="432"/>
                  </a:lnTo>
                  <a:lnTo>
                    <a:pt x="134" y="448"/>
                  </a:lnTo>
                  <a:lnTo>
                    <a:pt x="101" y="440"/>
                  </a:lnTo>
                  <a:lnTo>
                    <a:pt x="101" y="472"/>
                  </a:lnTo>
                  <a:lnTo>
                    <a:pt x="126" y="496"/>
                  </a:lnTo>
                  <a:lnTo>
                    <a:pt x="151" y="480"/>
                  </a:lnTo>
                  <a:lnTo>
                    <a:pt x="168" y="480"/>
                  </a:lnTo>
                  <a:lnTo>
                    <a:pt x="185" y="488"/>
                  </a:lnTo>
                  <a:lnTo>
                    <a:pt x="219" y="504"/>
                  </a:lnTo>
                  <a:lnTo>
                    <a:pt x="227" y="528"/>
                  </a:lnTo>
                  <a:lnTo>
                    <a:pt x="235" y="560"/>
                  </a:lnTo>
                  <a:lnTo>
                    <a:pt x="269" y="576"/>
                  </a:lnTo>
                  <a:lnTo>
                    <a:pt x="244" y="592"/>
                  </a:lnTo>
                  <a:lnTo>
                    <a:pt x="244" y="600"/>
                  </a:lnTo>
                  <a:lnTo>
                    <a:pt x="261" y="600"/>
                  </a:lnTo>
                  <a:lnTo>
                    <a:pt x="345" y="584"/>
                  </a:lnTo>
                  <a:lnTo>
                    <a:pt x="337" y="616"/>
                  </a:lnTo>
                  <a:lnTo>
                    <a:pt x="362" y="600"/>
                  </a:lnTo>
                  <a:lnTo>
                    <a:pt x="354" y="50"/>
                  </a:lnTo>
                  <a:lnTo>
                    <a:pt x="303" y="56"/>
                  </a:lnTo>
                  <a:close/>
                </a:path>
              </a:pathLst>
            </a:custGeom>
            <a:solidFill>
              <a:schemeClr val="bg1"/>
            </a:solidFill>
            <a:ln w="12700">
              <a:solidFill>
                <a:srgbClr val="000000"/>
              </a:solidFill>
              <a:round/>
              <a:headEnd/>
              <a:tailEnd/>
            </a:ln>
          </p:spPr>
          <p:txBody>
            <a:bodyPr/>
            <a:lstStyle/>
            <a:p>
              <a:endParaRPr lang="en-US"/>
            </a:p>
          </p:txBody>
        </p:sp>
        <p:sp>
          <p:nvSpPr>
            <p:cNvPr id="34898" name="Freeform 79"/>
            <p:cNvSpPr>
              <a:spLocks/>
            </p:cNvSpPr>
            <p:nvPr/>
          </p:nvSpPr>
          <p:spPr bwMode="auto">
            <a:xfrm>
              <a:off x="7004050" y="5057775"/>
              <a:ext cx="376238" cy="220663"/>
            </a:xfrm>
            <a:custGeom>
              <a:avLst/>
              <a:gdLst>
                <a:gd name="T0" fmla="*/ 2147483647 w 308"/>
                <a:gd name="T1" fmla="*/ 2147483647 h 184"/>
                <a:gd name="T2" fmla="*/ 2147483647 w 308"/>
                <a:gd name="T3" fmla="*/ 2147483647 h 184"/>
                <a:gd name="T4" fmla="*/ 2147483647 w 308"/>
                <a:gd name="T5" fmla="*/ 2147483647 h 184"/>
                <a:gd name="T6" fmla="*/ 2147483647 w 308"/>
                <a:gd name="T7" fmla="*/ 2147483647 h 184"/>
                <a:gd name="T8" fmla="*/ 2147483647 w 308"/>
                <a:gd name="T9" fmla="*/ 2147483647 h 184"/>
                <a:gd name="T10" fmla="*/ 2147483647 w 308"/>
                <a:gd name="T11" fmla="*/ 2147483647 h 184"/>
                <a:gd name="T12" fmla="*/ 2147483647 w 308"/>
                <a:gd name="T13" fmla="*/ 2147483647 h 184"/>
                <a:gd name="T14" fmla="*/ 2147483647 w 308"/>
                <a:gd name="T15" fmla="*/ 2147483647 h 184"/>
                <a:gd name="T16" fmla="*/ 2147483647 w 308"/>
                <a:gd name="T17" fmla="*/ 2147483647 h 184"/>
                <a:gd name="T18" fmla="*/ 0 w 308"/>
                <a:gd name="T19" fmla="*/ 2147483647 h 184"/>
                <a:gd name="T20" fmla="*/ 0 w 308"/>
                <a:gd name="T21" fmla="*/ 2147483647 h 184"/>
                <a:gd name="T22" fmla="*/ 2147483647 w 308"/>
                <a:gd name="T23" fmla="*/ 2147483647 h 184"/>
                <a:gd name="T24" fmla="*/ 2147483647 w 308"/>
                <a:gd name="T25" fmla="*/ 2147483647 h 184"/>
                <a:gd name="T26" fmla="*/ 2147483647 w 308"/>
                <a:gd name="T27" fmla="*/ 2147483647 h 184"/>
                <a:gd name="T28" fmla="*/ 2147483647 w 308"/>
                <a:gd name="T29" fmla="*/ 2147483647 h 184"/>
                <a:gd name="T30" fmla="*/ 2147483647 w 308"/>
                <a:gd name="T31" fmla="*/ 2147483647 h 184"/>
                <a:gd name="T32" fmla="*/ 2147483647 w 308"/>
                <a:gd name="T33" fmla="*/ 2147483647 h 184"/>
                <a:gd name="T34" fmla="*/ 2147483647 w 308"/>
                <a:gd name="T35" fmla="*/ 0 h 184"/>
                <a:gd name="T36" fmla="*/ 2147483647 w 308"/>
                <a:gd name="T37" fmla="*/ 0 h 184"/>
                <a:gd name="T38" fmla="*/ 2147483647 w 308"/>
                <a:gd name="T39" fmla="*/ 2147483647 h 184"/>
                <a:gd name="T40" fmla="*/ 2147483647 w 308"/>
                <a:gd name="T41" fmla="*/ 2147483647 h 184"/>
                <a:gd name="T42" fmla="*/ 2147483647 w 308"/>
                <a:gd name="T43" fmla="*/ 2147483647 h 184"/>
                <a:gd name="T44" fmla="*/ 2147483647 w 308"/>
                <a:gd name="T45" fmla="*/ 2147483647 h 184"/>
                <a:gd name="T46" fmla="*/ 2147483647 w 308"/>
                <a:gd name="T47" fmla="*/ 2147483647 h 184"/>
                <a:gd name="T48" fmla="*/ 2147483647 w 308"/>
                <a:gd name="T49" fmla="*/ 2147483647 h 1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8"/>
                <a:gd name="T76" fmla="*/ 0 h 184"/>
                <a:gd name="T77" fmla="*/ 308 w 308"/>
                <a:gd name="T78" fmla="*/ 184 h 18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8" h="184">
                  <a:moveTo>
                    <a:pt x="244" y="56"/>
                  </a:moveTo>
                  <a:lnTo>
                    <a:pt x="278" y="72"/>
                  </a:lnTo>
                  <a:lnTo>
                    <a:pt x="244" y="88"/>
                  </a:lnTo>
                  <a:lnTo>
                    <a:pt x="202" y="88"/>
                  </a:lnTo>
                  <a:lnTo>
                    <a:pt x="134" y="120"/>
                  </a:lnTo>
                  <a:lnTo>
                    <a:pt x="109" y="120"/>
                  </a:lnTo>
                  <a:lnTo>
                    <a:pt x="92" y="120"/>
                  </a:lnTo>
                  <a:lnTo>
                    <a:pt x="50" y="128"/>
                  </a:lnTo>
                  <a:lnTo>
                    <a:pt x="25" y="152"/>
                  </a:lnTo>
                  <a:lnTo>
                    <a:pt x="0" y="184"/>
                  </a:lnTo>
                  <a:lnTo>
                    <a:pt x="0" y="168"/>
                  </a:lnTo>
                  <a:lnTo>
                    <a:pt x="17" y="152"/>
                  </a:lnTo>
                  <a:lnTo>
                    <a:pt x="42" y="120"/>
                  </a:lnTo>
                  <a:lnTo>
                    <a:pt x="84" y="88"/>
                  </a:lnTo>
                  <a:lnTo>
                    <a:pt x="92" y="40"/>
                  </a:lnTo>
                  <a:lnTo>
                    <a:pt x="143" y="24"/>
                  </a:lnTo>
                  <a:lnTo>
                    <a:pt x="193" y="16"/>
                  </a:lnTo>
                  <a:lnTo>
                    <a:pt x="244" y="0"/>
                  </a:lnTo>
                  <a:lnTo>
                    <a:pt x="252" y="0"/>
                  </a:lnTo>
                  <a:lnTo>
                    <a:pt x="261" y="16"/>
                  </a:lnTo>
                  <a:lnTo>
                    <a:pt x="303" y="24"/>
                  </a:lnTo>
                  <a:lnTo>
                    <a:pt x="308" y="24"/>
                  </a:lnTo>
                  <a:lnTo>
                    <a:pt x="286" y="32"/>
                  </a:lnTo>
                  <a:lnTo>
                    <a:pt x="244" y="56"/>
                  </a:lnTo>
                  <a:close/>
                </a:path>
              </a:pathLst>
            </a:custGeom>
            <a:solidFill>
              <a:schemeClr val="bg1"/>
            </a:solidFill>
            <a:ln w="12700">
              <a:solidFill>
                <a:srgbClr val="000000"/>
              </a:solidFill>
              <a:round/>
              <a:headEnd/>
              <a:tailEnd/>
            </a:ln>
          </p:spPr>
          <p:txBody>
            <a:bodyPr/>
            <a:lstStyle/>
            <a:p>
              <a:endParaRPr lang="en-US"/>
            </a:p>
          </p:txBody>
        </p:sp>
        <p:sp>
          <p:nvSpPr>
            <p:cNvPr id="34899" name="Freeform 80"/>
            <p:cNvSpPr>
              <a:spLocks/>
            </p:cNvSpPr>
            <p:nvPr/>
          </p:nvSpPr>
          <p:spPr bwMode="auto">
            <a:xfrm>
              <a:off x="6116638" y="4110038"/>
              <a:ext cx="1092200" cy="708025"/>
            </a:xfrm>
            <a:custGeom>
              <a:avLst/>
              <a:gdLst>
                <a:gd name="T0" fmla="*/ 2147483647 w 893"/>
                <a:gd name="T1" fmla="*/ 2147483647 h 592"/>
                <a:gd name="T2" fmla="*/ 2147483647 w 893"/>
                <a:gd name="T3" fmla="*/ 2147483647 h 592"/>
                <a:gd name="T4" fmla="*/ 2147483647 w 893"/>
                <a:gd name="T5" fmla="*/ 2147483647 h 592"/>
                <a:gd name="T6" fmla="*/ 2147483647 w 893"/>
                <a:gd name="T7" fmla="*/ 2147483647 h 592"/>
                <a:gd name="T8" fmla="*/ 2147483647 w 893"/>
                <a:gd name="T9" fmla="*/ 2147483647 h 592"/>
                <a:gd name="T10" fmla="*/ 2147483647 w 893"/>
                <a:gd name="T11" fmla="*/ 2147483647 h 592"/>
                <a:gd name="T12" fmla="*/ 2147483647 w 893"/>
                <a:gd name="T13" fmla="*/ 2147483647 h 592"/>
                <a:gd name="T14" fmla="*/ 2147483647 w 893"/>
                <a:gd name="T15" fmla="*/ 2147483647 h 592"/>
                <a:gd name="T16" fmla="*/ 2147483647 w 893"/>
                <a:gd name="T17" fmla="*/ 0 h 592"/>
                <a:gd name="T18" fmla="*/ 2147483647 w 893"/>
                <a:gd name="T19" fmla="*/ 2147483647 h 592"/>
                <a:gd name="T20" fmla="*/ 2147483647 w 893"/>
                <a:gd name="T21" fmla="*/ 2147483647 h 592"/>
                <a:gd name="T22" fmla="*/ 2147483647 w 893"/>
                <a:gd name="T23" fmla="*/ 2147483647 h 592"/>
                <a:gd name="T24" fmla="*/ 2147483647 w 893"/>
                <a:gd name="T25" fmla="*/ 2147483647 h 592"/>
                <a:gd name="T26" fmla="*/ 2147483647 w 893"/>
                <a:gd name="T27" fmla="*/ 2147483647 h 592"/>
                <a:gd name="T28" fmla="*/ 2147483647 w 893"/>
                <a:gd name="T29" fmla="*/ 2147483647 h 592"/>
                <a:gd name="T30" fmla="*/ 2147483647 w 893"/>
                <a:gd name="T31" fmla="*/ 2147483647 h 592"/>
                <a:gd name="T32" fmla="*/ 2147483647 w 893"/>
                <a:gd name="T33" fmla="*/ 2147483647 h 592"/>
                <a:gd name="T34" fmla="*/ 2147483647 w 893"/>
                <a:gd name="T35" fmla="*/ 2147483647 h 592"/>
                <a:gd name="T36" fmla="*/ 2147483647 w 893"/>
                <a:gd name="T37" fmla="*/ 2147483647 h 592"/>
                <a:gd name="T38" fmla="*/ 2147483647 w 893"/>
                <a:gd name="T39" fmla="*/ 2147483647 h 592"/>
                <a:gd name="T40" fmla="*/ 2147483647 w 893"/>
                <a:gd name="T41" fmla="*/ 2147483647 h 592"/>
                <a:gd name="T42" fmla="*/ 2147483647 w 893"/>
                <a:gd name="T43" fmla="*/ 2147483647 h 592"/>
                <a:gd name="T44" fmla="*/ 2147483647 w 893"/>
                <a:gd name="T45" fmla="*/ 2147483647 h 592"/>
                <a:gd name="T46" fmla="*/ 2147483647 w 893"/>
                <a:gd name="T47" fmla="*/ 2147483647 h 592"/>
                <a:gd name="T48" fmla="*/ 2147483647 w 893"/>
                <a:gd name="T49" fmla="*/ 2147483647 h 592"/>
                <a:gd name="T50" fmla="*/ 0 w 893"/>
                <a:gd name="T51" fmla="*/ 2147483647 h 592"/>
                <a:gd name="T52" fmla="*/ 2147483647 w 893"/>
                <a:gd name="T53" fmla="*/ 2147483647 h 592"/>
                <a:gd name="T54" fmla="*/ 2147483647 w 893"/>
                <a:gd name="T55" fmla="*/ 2147483647 h 592"/>
                <a:gd name="T56" fmla="*/ 2147483647 w 893"/>
                <a:gd name="T57" fmla="*/ 2147483647 h 592"/>
                <a:gd name="T58" fmla="*/ 2147483647 w 893"/>
                <a:gd name="T59" fmla="*/ 2147483647 h 592"/>
                <a:gd name="T60" fmla="*/ 2147483647 w 893"/>
                <a:gd name="T61" fmla="*/ 2147483647 h 592"/>
                <a:gd name="T62" fmla="*/ 2147483647 w 893"/>
                <a:gd name="T63" fmla="*/ 2147483647 h 592"/>
                <a:gd name="T64" fmla="*/ 2147483647 w 893"/>
                <a:gd name="T65" fmla="*/ 2147483647 h 592"/>
                <a:gd name="T66" fmla="*/ 2147483647 w 893"/>
                <a:gd name="T67" fmla="*/ 2147483647 h 592"/>
                <a:gd name="T68" fmla="*/ 2147483647 w 893"/>
                <a:gd name="T69" fmla="*/ 2147483647 h 592"/>
                <a:gd name="T70" fmla="*/ 2147483647 w 893"/>
                <a:gd name="T71" fmla="*/ 2147483647 h 592"/>
                <a:gd name="T72" fmla="*/ 2147483647 w 893"/>
                <a:gd name="T73" fmla="*/ 2147483647 h 592"/>
                <a:gd name="T74" fmla="*/ 2147483647 w 893"/>
                <a:gd name="T75" fmla="*/ 2147483647 h 592"/>
                <a:gd name="T76" fmla="*/ 2147483647 w 893"/>
                <a:gd name="T77" fmla="*/ 2147483647 h 592"/>
                <a:gd name="T78" fmla="*/ 2147483647 w 893"/>
                <a:gd name="T79" fmla="*/ 2147483647 h 592"/>
                <a:gd name="T80" fmla="*/ 2147483647 w 893"/>
                <a:gd name="T81" fmla="*/ 2147483647 h 592"/>
                <a:gd name="T82" fmla="*/ 2147483647 w 893"/>
                <a:gd name="T83" fmla="*/ 2147483647 h 592"/>
                <a:gd name="T84" fmla="*/ 2147483647 w 893"/>
                <a:gd name="T85" fmla="*/ 2147483647 h 592"/>
                <a:gd name="T86" fmla="*/ 2147483647 w 893"/>
                <a:gd name="T87" fmla="*/ 2147483647 h 592"/>
                <a:gd name="T88" fmla="*/ 2147483647 w 893"/>
                <a:gd name="T89" fmla="*/ 2147483647 h 592"/>
                <a:gd name="T90" fmla="*/ 2147483647 w 893"/>
                <a:gd name="T91" fmla="*/ 2147483647 h 592"/>
                <a:gd name="T92" fmla="*/ 2147483647 w 893"/>
                <a:gd name="T93" fmla="*/ 2147483647 h 592"/>
                <a:gd name="T94" fmla="*/ 2147483647 w 893"/>
                <a:gd name="T95" fmla="*/ 2147483647 h 592"/>
                <a:gd name="T96" fmla="*/ 2147483647 w 893"/>
                <a:gd name="T97" fmla="*/ 2147483647 h 592"/>
                <a:gd name="T98" fmla="*/ 2147483647 w 893"/>
                <a:gd name="T99" fmla="*/ 2147483647 h 592"/>
                <a:gd name="T100" fmla="*/ 2147483647 w 893"/>
                <a:gd name="T101" fmla="*/ 2147483647 h 592"/>
                <a:gd name="T102" fmla="*/ 2147483647 w 893"/>
                <a:gd name="T103" fmla="*/ 2147483647 h 592"/>
                <a:gd name="T104" fmla="*/ 2147483647 w 893"/>
                <a:gd name="T105" fmla="*/ 2147483647 h 592"/>
                <a:gd name="T106" fmla="*/ 2147483647 w 893"/>
                <a:gd name="T107" fmla="*/ 2147483647 h 592"/>
                <a:gd name="T108" fmla="*/ 2147483647 w 893"/>
                <a:gd name="T109" fmla="*/ 2147483647 h 592"/>
                <a:gd name="T110" fmla="*/ 2147483647 w 893"/>
                <a:gd name="T111" fmla="*/ 2147483647 h 592"/>
                <a:gd name="T112" fmla="*/ 2147483647 w 893"/>
                <a:gd name="T113" fmla="*/ 2147483647 h 592"/>
                <a:gd name="T114" fmla="*/ 2147483647 w 893"/>
                <a:gd name="T115" fmla="*/ 2147483647 h 592"/>
                <a:gd name="T116" fmla="*/ 2147483647 w 893"/>
                <a:gd name="T117" fmla="*/ 2147483647 h 592"/>
                <a:gd name="T118" fmla="*/ 2147483647 w 893"/>
                <a:gd name="T119" fmla="*/ 2147483647 h 5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93"/>
                <a:gd name="T181" fmla="*/ 0 h 592"/>
                <a:gd name="T182" fmla="*/ 893 w 893"/>
                <a:gd name="T183" fmla="*/ 592 h 5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93" h="592">
                  <a:moveTo>
                    <a:pt x="784" y="312"/>
                  </a:moveTo>
                  <a:lnTo>
                    <a:pt x="725" y="280"/>
                  </a:lnTo>
                  <a:lnTo>
                    <a:pt x="708" y="208"/>
                  </a:lnTo>
                  <a:lnTo>
                    <a:pt x="708" y="168"/>
                  </a:lnTo>
                  <a:lnTo>
                    <a:pt x="666" y="120"/>
                  </a:lnTo>
                  <a:lnTo>
                    <a:pt x="632" y="96"/>
                  </a:lnTo>
                  <a:lnTo>
                    <a:pt x="581" y="56"/>
                  </a:lnTo>
                  <a:lnTo>
                    <a:pt x="548" y="16"/>
                  </a:lnTo>
                  <a:lnTo>
                    <a:pt x="506" y="0"/>
                  </a:lnTo>
                  <a:lnTo>
                    <a:pt x="472" y="48"/>
                  </a:lnTo>
                  <a:lnTo>
                    <a:pt x="396" y="72"/>
                  </a:lnTo>
                  <a:lnTo>
                    <a:pt x="371" y="96"/>
                  </a:lnTo>
                  <a:lnTo>
                    <a:pt x="337" y="80"/>
                  </a:lnTo>
                  <a:lnTo>
                    <a:pt x="287" y="88"/>
                  </a:lnTo>
                  <a:lnTo>
                    <a:pt x="253" y="88"/>
                  </a:lnTo>
                  <a:lnTo>
                    <a:pt x="219" y="80"/>
                  </a:lnTo>
                  <a:lnTo>
                    <a:pt x="185" y="104"/>
                  </a:lnTo>
                  <a:lnTo>
                    <a:pt x="160" y="128"/>
                  </a:lnTo>
                  <a:lnTo>
                    <a:pt x="135" y="168"/>
                  </a:lnTo>
                  <a:lnTo>
                    <a:pt x="110" y="224"/>
                  </a:lnTo>
                  <a:lnTo>
                    <a:pt x="84" y="256"/>
                  </a:lnTo>
                  <a:lnTo>
                    <a:pt x="76" y="280"/>
                  </a:lnTo>
                  <a:lnTo>
                    <a:pt x="67" y="320"/>
                  </a:lnTo>
                  <a:lnTo>
                    <a:pt x="51" y="328"/>
                  </a:lnTo>
                  <a:lnTo>
                    <a:pt x="25" y="344"/>
                  </a:lnTo>
                  <a:lnTo>
                    <a:pt x="0" y="352"/>
                  </a:lnTo>
                  <a:lnTo>
                    <a:pt x="17" y="368"/>
                  </a:lnTo>
                  <a:lnTo>
                    <a:pt x="51" y="392"/>
                  </a:lnTo>
                  <a:lnTo>
                    <a:pt x="59" y="416"/>
                  </a:lnTo>
                  <a:lnTo>
                    <a:pt x="93" y="440"/>
                  </a:lnTo>
                  <a:lnTo>
                    <a:pt x="135" y="456"/>
                  </a:lnTo>
                  <a:lnTo>
                    <a:pt x="118" y="488"/>
                  </a:lnTo>
                  <a:lnTo>
                    <a:pt x="160" y="496"/>
                  </a:lnTo>
                  <a:lnTo>
                    <a:pt x="202" y="512"/>
                  </a:lnTo>
                  <a:lnTo>
                    <a:pt x="244" y="488"/>
                  </a:lnTo>
                  <a:lnTo>
                    <a:pt x="244" y="528"/>
                  </a:lnTo>
                  <a:lnTo>
                    <a:pt x="261" y="536"/>
                  </a:lnTo>
                  <a:lnTo>
                    <a:pt x="253" y="544"/>
                  </a:lnTo>
                  <a:lnTo>
                    <a:pt x="287" y="560"/>
                  </a:lnTo>
                  <a:lnTo>
                    <a:pt x="287" y="584"/>
                  </a:lnTo>
                  <a:lnTo>
                    <a:pt x="320" y="592"/>
                  </a:lnTo>
                  <a:lnTo>
                    <a:pt x="413" y="592"/>
                  </a:lnTo>
                  <a:lnTo>
                    <a:pt x="438" y="568"/>
                  </a:lnTo>
                  <a:lnTo>
                    <a:pt x="463" y="568"/>
                  </a:lnTo>
                  <a:lnTo>
                    <a:pt x="514" y="568"/>
                  </a:lnTo>
                  <a:lnTo>
                    <a:pt x="565" y="560"/>
                  </a:lnTo>
                  <a:lnTo>
                    <a:pt x="607" y="504"/>
                  </a:lnTo>
                  <a:lnTo>
                    <a:pt x="657" y="488"/>
                  </a:lnTo>
                  <a:lnTo>
                    <a:pt x="699" y="480"/>
                  </a:lnTo>
                  <a:lnTo>
                    <a:pt x="725" y="488"/>
                  </a:lnTo>
                  <a:lnTo>
                    <a:pt x="767" y="480"/>
                  </a:lnTo>
                  <a:lnTo>
                    <a:pt x="775" y="496"/>
                  </a:lnTo>
                  <a:lnTo>
                    <a:pt x="826" y="496"/>
                  </a:lnTo>
                  <a:lnTo>
                    <a:pt x="834" y="416"/>
                  </a:lnTo>
                  <a:lnTo>
                    <a:pt x="851" y="376"/>
                  </a:lnTo>
                  <a:lnTo>
                    <a:pt x="885" y="336"/>
                  </a:lnTo>
                  <a:lnTo>
                    <a:pt x="893" y="312"/>
                  </a:lnTo>
                  <a:lnTo>
                    <a:pt x="876" y="288"/>
                  </a:lnTo>
                  <a:lnTo>
                    <a:pt x="834" y="288"/>
                  </a:lnTo>
                  <a:lnTo>
                    <a:pt x="784" y="31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00" name="Freeform 81"/>
            <p:cNvSpPr>
              <a:spLocks/>
            </p:cNvSpPr>
            <p:nvPr/>
          </p:nvSpPr>
          <p:spPr bwMode="auto">
            <a:xfrm>
              <a:off x="6745288" y="4060825"/>
              <a:ext cx="433388" cy="403225"/>
            </a:xfrm>
            <a:custGeom>
              <a:avLst/>
              <a:gdLst>
                <a:gd name="T0" fmla="*/ 2147483647 w 354"/>
                <a:gd name="T1" fmla="*/ 2147483647 h 336"/>
                <a:gd name="T2" fmla="*/ 2147483647 w 354"/>
                <a:gd name="T3" fmla="*/ 2147483647 h 336"/>
                <a:gd name="T4" fmla="*/ 2147483647 w 354"/>
                <a:gd name="T5" fmla="*/ 2147483647 h 336"/>
                <a:gd name="T6" fmla="*/ 2147483647 w 354"/>
                <a:gd name="T7" fmla="*/ 2147483647 h 336"/>
                <a:gd name="T8" fmla="*/ 2147483647 w 354"/>
                <a:gd name="T9" fmla="*/ 2147483647 h 336"/>
                <a:gd name="T10" fmla="*/ 2147483647 w 354"/>
                <a:gd name="T11" fmla="*/ 2147483647 h 336"/>
                <a:gd name="T12" fmla="*/ 2147483647 w 354"/>
                <a:gd name="T13" fmla="*/ 2147483647 h 336"/>
                <a:gd name="T14" fmla="*/ 2147483647 w 354"/>
                <a:gd name="T15" fmla="*/ 2147483647 h 336"/>
                <a:gd name="T16" fmla="*/ 2147483647 w 354"/>
                <a:gd name="T17" fmla="*/ 2147483647 h 336"/>
                <a:gd name="T18" fmla="*/ 2147483647 w 354"/>
                <a:gd name="T19" fmla="*/ 2147483647 h 336"/>
                <a:gd name="T20" fmla="*/ 2147483647 w 354"/>
                <a:gd name="T21" fmla="*/ 0 h 336"/>
                <a:gd name="T22" fmla="*/ 2147483647 w 354"/>
                <a:gd name="T23" fmla="*/ 2147483647 h 336"/>
                <a:gd name="T24" fmla="*/ 2147483647 w 354"/>
                <a:gd name="T25" fmla="*/ 2147483647 h 336"/>
                <a:gd name="T26" fmla="*/ 0 w 354"/>
                <a:gd name="T27" fmla="*/ 2147483647 h 336"/>
                <a:gd name="T28" fmla="*/ 2147483647 w 354"/>
                <a:gd name="T29" fmla="*/ 2147483647 h 336"/>
                <a:gd name="T30" fmla="*/ 2147483647 w 354"/>
                <a:gd name="T31" fmla="*/ 2147483647 h 336"/>
                <a:gd name="T32" fmla="*/ 2147483647 w 354"/>
                <a:gd name="T33" fmla="*/ 2147483647 h 336"/>
                <a:gd name="T34" fmla="*/ 2147483647 w 354"/>
                <a:gd name="T35" fmla="*/ 2147483647 h 336"/>
                <a:gd name="T36" fmla="*/ 2147483647 w 354"/>
                <a:gd name="T37" fmla="*/ 2147483647 h 336"/>
                <a:gd name="T38" fmla="*/ 2147483647 w 354"/>
                <a:gd name="T39" fmla="*/ 2147483647 h 336"/>
                <a:gd name="T40" fmla="*/ 2147483647 w 354"/>
                <a:gd name="T41" fmla="*/ 2147483647 h 336"/>
                <a:gd name="T42" fmla="*/ 2147483647 w 354"/>
                <a:gd name="T43" fmla="*/ 2147483647 h 336"/>
                <a:gd name="T44" fmla="*/ 2147483647 w 354"/>
                <a:gd name="T45" fmla="*/ 2147483647 h 336"/>
                <a:gd name="T46" fmla="*/ 2147483647 w 354"/>
                <a:gd name="T47" fmla="*/ 2147483647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4"/>
                <a:gd name="T73" fmla="*/ 0 h 336"/>
                <a:gd name="T74" fmla="*/ 354 w 354"/>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4" h="336">
                  <a:moveTo>
                    <a:pt x="270" y="248"/>
                  </a:moveTo>
                  <a:lnTo>
                    <a:pt x="253" y="224"/>
                  </a:lnTo>
                  <a:lnTo>
                    <a:pt x="278" y="200"/>
                  </a:lnTo>
                  <a:lnTo>
                    <a:pt x="354" y="184"/>
                  </a:lnTo>
                  <a:lnTo>
                    <a:pt x="337" y="152"/>
                  </a:lnTo>
                  <a:lnTo>
                    <a:pt x="303" y="120"/>
                  </a:lnTo>
                  <a:lnTo>
                    <a:pt x="287" y="88"/>
                  </a:lnTo>
                  <a:lnTo>
                    <a:pt x="236" y="72"/>
                  </a:lnTo>
                  <a:lnTo>
                    <a:pt x="211" y="24"/>
                  </a:lnTo>
                  <a:lnTo>
                    <a:pt x="152" y="24"/>
                  </a:lnTo>
                  <a:lnTo>
                    <a:pt x="84" y="0"/>
                  </a:lnTo>
                  <a:lnTo>
                    <a:pt x="59" y="24"/>
                  </a:lnTo>
                  <a:lnTo>
                    <a:pt x="8" y="32"/>
                  </a:lnTo>
                  <a:lnTo>
                    <a:pt x="0" y="40"/>
                  </a:lnTo>
                  <a:lnTo>
                    <a:pt x="34" y="56"/>
                  </a:lnTo>
                  <a:lnTo>
                    <a:pt x="67" y="96"/>
                  </a:lnTo>
                  <a:lnTo>
                    <a:pt x="118" y="136"/>
                  </a:lnTo>
                  <a:lnTo>
                    <a:pt x="152" y="160"/>
                  </a:lnTo>
                  <a:lnTo>
                    <a:pt x="194" y="208"/>
                  </a:lnTo>
                  <a:lnTo>
                    <a:pt x="194" y="248"/>
                  </a:lnTo>
                  <a:lnTo>
                    <a:pt x="211" y="320"/>
                  </a:lnTo>
                  <a:lnTo>
                    <a:pt x="236" y="336"/>
                  </a:lnTo>
                  <a:lnTo>
                    <a:pt x="253" y="312"/>
                  </a:lnTo>
                  <a:lnTo>
                    <a:pt x="270" y="24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01" name="Freeform 82"/>
            <p:cNvSpPr>
              <a:spLocks/>
            </p:cNvSpPr>
            <p:nvPr/>
          </p:nvSpPr>
          <p:spPr bwMode="auto">
            <a:xfrm>
              <a:off x="6116638" y="4110038"/>
              <a:ext cx="1092200" cy="708025"/>
            </a:xfrm>
            <a:custGeom>
              <a:avLst/>
              <a:gdLst>
                <a:gd name="T0" fmla="*/ 2147483647 w 893"/>
                <a:gd name="T1" fmla="*/ 2147483647 h 592"/>
                <a:gd name="T2" fmla="*/ 2147483647 w 893"/>
                <a:gd name="T3" fmla="*/ 2147483647 h 592"/>
                <a:gd name="T4" fmla="*/ 2147483647 w 893"/>
                <a:gd name="T5" fmla="*/ 2147483647 h 592"/>
                <a:gd name="T6" fmla="*/ 2147483647 w 893"/>
                <a:gd name="T7" fmla="*/ 2147483647 h 592"/>
                <a:gd name="T8" fmla="*/ 2147483647 w 893"/>
                <a:gd name="T9" fmla="*/ 2147483647 h 592"/>
                <a:gd name="T10" fmla="*/ 2147483647 w 893"/>
                <a:gd name="T11" fmla="*/ 2147483647 h 592"/>
                <a:gd name="T12" fmla="*/ 2147483647 w 893"/>
                <a:gd name="T13" fmla="*/ 2147483647 h 592"/>
                <a:gd name="T14" fmla="*/ 2147483647 w 893"/>
                <a:gd name="T15" fmla="*/ 2147483647 h 592"/>
                <a:gd name="T16" fmla="*/ 2147483647 w 893"/>
                <a:gd name="T17" fmla="*/ 0 h 592"/>
                <a:gd name="T18" fmla="*/ 2147483647 w 893"/>
                <a:gd name="T19" fmla="*/ 2147483647 h 592"/>
                <a:gd name="T20" fmla="*/ 2147483647 w 893"/>
                <a:gd name="T21" fmla="*/ 2147483647 h 592"/>
                <a:gd name="T22" fmla="*/ 2147483647 w 893"/>
                <a:gd name="T23" fmla="*/ 2147483647 h 592"/>
                <a:gd name="T24" fmla="*/ 2147483647 w 893"/>
                <a:gd name="T25" fmla="*/ 2147483647 h 592"/>
                <a:gd name="T26" fmla="*/ 2147483647 w 893"/>
                <a:gd name="T27" fmla="*/ 2147483647 h 592"/>
                <a:gd name="T28" fmla="*/ 2147483647 w 893"/>
                <a:gd name="T29" fmla="*/ 2147483647 h 592"/>
                <a:gd name="T30" fmla="*/ 2147483647 w 893"/>
                <a:gd name="T31" fmla="*/ 2147483647 h 592"/>
                <a:gd name="T32" fmla="*/ 2147483647 w 893"/>
                <a:gd name="T33" fmla="*/ 2147483647 h 592"/>
                <a:gd name="T34" fmla="*/ 2147483647 w 893"/>
                <a:gd name="T35" fmla="*/ 2147483647 h 592"/>
                <a:gd name="T36" fmla="*/ 2147483647 w 893"/>
                <a:gd name="T37" fmla="*/ 2147483647 h 592"/>
                <a:gd name="T38" fmla="*/ 2147483647 w 893"/>
                <a:gd name="T39" fmla="*/ 2147483647 h 592"/>
                <a:gd name="T40" fmla="*/ 2147483647 w 893"/>
                <a:gd name="T41" fmla="*/ 2147483647 h 592"/>
                <a:gd name="T42" fmla="*/ 2147483647 w 893"/>
                <a:gd name="T43" fmla="*/ 2147483647 h 592"/>
                <a:gd name="T44" fmla="*/ 2147483647 w 893"/>
                <a:gd name="T45" fmla="*/ 2147483647 h 592"/>
                <a:gd name="T46" fmla="*/ 2147483647 w 893"/>
                <a:gd name="T47" fmla="*/ 2147483647 h 592"/>
                <a:gd name="T48" fmla="*/ 2147483647 w 893"/>
                <a:gd name="T49" fmla="*/ 2147483647 h 592"/>
                <a:gd name="T50" fmla="*/ 2147483647 w 893"/>
                <a:gd name="T51" fmla="*/ 2147483647 h 592"/>
                <a:gd name="T52" fmla="*/ 0 w 893"/>
                <a:gd name="T53" fmla="*/ 2147483647 h 592"/>
                <a:gd name="T54" fmla="*/ 2147483647 w 893"/>
                <a:gd name="T55" fmla="*/ 2147483647 h 592"/>
                <a:gd name="T56" fmla="*/ 2147483647 w 893"/>
                <a:gd name="T57" fmla="*/ 2147483647 h 592"/>
                <a:gd name="T58" fmla="*/ 2147483647 w 893"/>
                <a:gd name="T59" fmla="*/ 2147483647 h 592"/>
                <a:gd name="T60" fmla="*/ 2147483647 w 893"/>
                <a:gd name="T61" fmla="*/ 2147483647 h 592"/>
                <a:gd name="T62" fmla="*/ 2147483647 w 893"/>
                <a:gd name="T63" fmla="*/ 2147483647 h 592"/>
                <a:gd name="T64" fmla="*/ 2147483647 w 893"/>
                <a:gd name="T65" fmla="*/ 2147483647 h 592"/>
                <a:gd name="T66" fmla="*/ 2147483647 w 893"/>
                <a:gd name="T67" fmla="*/ 2147483647 h 592"/>
                <a:gd name="T68" fmla="*/ 2147483647 w 893"/>
                <a:gd name="T69" fmla="*/ 2147483647 h 592"/>
                <a:gd name="T70" fmla="*/ 2147483647 w 893"/>
                <a:gd name="T71" fmla="*/ 2147483647 h 592"/>
                <a:gd name="T72" fmla="*/ 2147483647 w 893"/>
                <a:gd name="T73" fmla="*/ 2147483647 h 592"/>
                <a:gd name="T74" fmla="*/ 2147483647 w 893"/>
                <a:gd name="T75" fmla="*/ 2147483647 h 592"/>
                <a:gd name="T76" fmla="*/ 2147483647 w 893"/>
                <a:gd name="T77" fmla="*/ 2147483647 h 592"/>
                <a:gd name="T78" fmla="*/ 2147483647 w 893"/>
                <a:gd name="T79" fmla="*/ 2147483647 h 592"/>
                <a:gd name="T80" fmla="*/ 2147483647 w 893"/>
                <a:gd name="T81" fmla="*/ 2147483647 h 592"/>
                <a:gd name="T82" fmla="*/ 2147483647 w 893"/>
                <a:gd name="T83" fmla="*/ 2147483647 h 592"/>
                <a:gd name="T84" fmla="*/ 2147483647 w 893"/>
                <a:gd name="T85" fmla="*/ 2147483647 h 592"/>
                <a:gd name="T86" fmla="*/ 2147483647 w 893"/>
                <a:gd name="T87" fmla="*/ 2147483647 h 592"/>
                <a:gd name="T88" fmla="*/ 2147483647 w 893"/>
                <a:gd name="T89" fmla="*/ 2147483647 h 592"/>
                <a:gd name="T90" fmla="*/ 2147483647 w 893"/>
                <a:gd name="T91" fmla="*/ 2147483647 h 592"/>
                <a:gd name="T92" fmla="*/ 2147483647 w 893"/>
                <a:gd name="T93" fmla="*/ 2147483647 h 592"/>
                <a:gd name="T94" fmla="*/ 2147483647 w 893"/>
                <a:gd name="T95" fmla="*/ 2147483647 h 592"/>
                <a:gd name="T96" fmla="*/ 2147483647 w 893"/>
                <a:gd name="T97" fmla="*/ 2147483647 h 592"/>
                <a:gd name="T98" fmla="*/ 2147483647 w 893"/>
                <a:gd name="T99" fmla="*/ 2147483647 h 592"/>
                <a:gd name="T100" fmla="*/ 2147483647 w 893"/>
                <a:gd name="T101" fmla="*/ 2147483647 h 592"/>
                <a:gd name="T102" fmla="*/ 2147483647 w 893"/>
                <a:gd name="T103" fmla="*/ 2147483647 h 592"/>
                <a:gd name="T104" fmla="*/ 2147483647 w 893"/>
                <a:gd name="T105" fmla="*/ 2147483647 h 592"/>
                <a:gd name="T106" fmla="*/ 2147483647 w 893"/>
                <a:gd name="T107" fmla="*/ 2147483647 h 592"/>
                <a:gd name="T108" fmla="*/ 2147483647 w 893"/>
                <a:gd name="T109" fmla="*/ 2147483647 h 592"/>
                <a:gd name="T110" fmla="*/ 2147483647 w 893"/>
                <a:gd name="T111" fmla="*/ 2147483647 h 592"/>
                <a:gd name="T112" fmla="*/ 2147483647 w 893"/>
                <a:gd name="T113" fmla="*/ 2147483647 h 592"/>
                <a:gd name="T114" fmla="*/ 2147483647 w 893"/>
                <a:gd name="T115" fmla="*/ 2147483647 h 592"/>
                <a:gd name="T116" fmla="*/ 2147483647 w 893"/>
                <a:gd name="T117" fmla="*/ 2147483647 h 592"/>
                <a:gd name="T118" fmla="*/ 2147483647 w 893"/>
                <a:gd name="T119" fmla="*/ 2147483647 h 592"/>
                <a:gd name="T120" fmla="*/ 2147483647 w 893"/>
                <a:gd name="T121" fmla="*/ 2147483647 h 5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93"/>
                <a:gd name="T184" fmla="*/ 0 h 592"/>
                <a:gd name="T185" fmla="*/ 893 w 893"/>
                <a:gd name="T186" fmla="*/ 592 h 59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93" h="592">
                  <a:moveTo>
                    <a:pt x="784" y="312"/>
                  </a:moveTo>
                  <a:lnTo>
                    <a:pt x="725" y="280"/>
                  </a:lnTo>
                  <a:lnTo>
                    <a:pt x="708" y="208"/>
                  </a:lnTo>
                  <a:lnTo>
                    <a:pt x="708" y="168"/>
                  </a:lnTo>
                  <a:lnTo>
                    <a:pt x="666" y="120"/>
                  </a:lnTo>
                  <a:lnTo>
                    <a:pt x="632" y="96"/>
                  </a:lnTo>
                  <a:lnTo>
                    <a:pt x="581" y="56"/>
                  </a:lnTo>
                  <a:lnTo>
                    <a:pt x="548" y="16"/>
                  </a:lnTo>
                  <a:lnTo>
                    <a:pt x="506" y="0"/>
                  </a:lnTo>
                  <a:lnTo>
                    <a:pt x="472" y="48"/>
                  </a:lnTo>
                  <a:lnTo>
                    <a:pt x="396" y="72"/>
                  </a:lnTo>
                  <a:lnTo>
                    <a:pt x="371" y="96"/>
                  </a:lnTo>
                  <a:lnTo>
                    <a:pt x="337" y="80"/>
                  </a:lnTo>
                  <a:lnTo>
                    <a:pt x="287" y="88"/>
                  </a:lnTo>
                  <a:lnTo>
                    <a:pt x="253" y="88"/>
                  </a:lnTo>
                  <a:lnTo>
                    <a:pt x="219" y="80"/>
                  </a:lnTo>
                  <a:lnTo>
                    <a:pt x="185" y="104"/>
                  </a:lnTo>
                  <a:lnTo>
                    <a:pt x="160" y="128"/>
                  </a:lnTo>
                  <a:lnTo>
                    <a:pt x="135" y="168"/>
                  </a:lnTo>
                  <a:lnTo>
                    <a:pt x="110" y="224"/>
                  </a:lnTo>
                  <a:lnTo>
                    <a:pt x="84" y="256"/>
                  </a:lnTo>
                  <a:lnTo>
                    <a:pt x="76" y="280"/>
                  </a:lnTo>
                  <a:lnTo>
                    <a:pt x="67" y="320"/>
                  </a:lnTo>
                  <a:lnTo>
                    <a:pt x="51" y="328"/>
                  </a:lnTo>
                  <a:lnTo>
                    <a:pt x="25" y="344"/>
                  </a:lnTo>
                  <a:lnTo>
                    <a:pt x="0" y="352"/>
                  </a:lnTo>
                  <a:lnTo>
                    <a:pt x="17" y="368"/>
                  </a:lnTo>
                  <a:lnTo>
                    <a:pt x="51" y="392"/>
                  </a:lnTo>
                  <a:lnTo>
                    <a:pt x="59" y="416"/>
                  </a:lnTo>
                  <a:lnTo>
                    <a:pt x="93" y="440"/>
                  </a:lnTo>
                  <a:lnTo>
                    <a:pt x="135" y="456"/>
                  </a:lnTo>
                  <a:lnTo>
                    <a:pt x="118" y="488"/>
                  </a:lnTo>
                  <a:lnTo>
                    <a:pt x="160" y="496"/>
                  </a:lnTo>
                  <a:lnTo>
                    <a:pt x="202" y="512"/>
                  </a:lnTo>
                  <a:lnTo>
                    <a:pt x="244" y="488"/>
                  </a:lnTo>
                  <a:lnTo>
                    <a:pt x="244" y="528"/>
                  </a:lnTo>
                  <a:lnTo>
                    <a:pt x="261" y="536"/>
                  </a:lnTo>
                  <a:lnTo>
                    <a:pt x="253" y="544"/>
                  </a:lnTo>
                  <a:lnTo>
                    <a:pt x="287" y="560"/>
                  </a:lnTo>
                  <a:lnTo>
                    <a:pt x="287" y="584"/>
                  </a:lnTo>
                  <a:lnTo>
                    <a:pt x="320" y="592"/>
                  </a:lnTo>
                  <a:lnTo>
                    <a:pt x="413" y="592"/>
                  </a:lnTo>
                  <a:lnTo>
                    <a:pt x="438" y="568"/>
                  </a:lnTo>
                  <a:lnTo>
                    <a:pt x="463" y="568"/>
                  </a:lnTo>
                  <a:lnTo>
                    <a:pt x="514" y="568"/>
                  </a:lnTo>
                  <a:lnTo>
                    <a:pt x="565" y="560"/>
                  </a:lnTo>
                  <a:lnTo>
                    <a:pt x="607" y="504"/>
                  </a:lnTo>
                  <a:lnTo>
                    <a:pt x="657" y="488"/>
                  </a:lnTo>
                  <a:lnTo>
                    <a:pt x="699" y="480"/>
                  </a:lnTo>
                  <a:lnTo>
                    <a:pt x="725" y="488"/>
                  </a:lnTo>
                  <a:lnTo>
                    <a:pt x="767" y="480"/>
                  </a:lnTo>
                  <a:lnTo>
                    <a:pt x="775" y="496"/>
                  </a:lnTo>
                  <a:lnTo>
                    <a:pt x="826" y="496"/>
                  </a:lnTo>
                  <a:lnTo>
                    <a:pt x="834" y="416"/>
                  </a:lnTo>
                  <a:lnTo>
                    <a:pt x="851" y="376"/>
                  </a:lnTo>
                  <a:lnTo>
                    <a:pt x="885" y="336"/>
                  </a:lnTo>
                  <a:lnTo>
                    <a:pt x="893" y="312"/>
                  </a:lnTo>
                  <a:lnTo>
                    <a:pt x="876" y="288"/>
                  </a:lnTo>
                  <a:lnTo>
                    <a:pt x="834" y="288"/>
                  </a:lnTo>
                  <a:lnTo>
                    <a:pt x="784" y="312"/>
                  </a:lnTo>
                  <a:close/>
                </a:path>
              </a:pathLst>
            </a:custGeom>
            <a:solidFill>
              <a:schemeClr val="bg1"/>
            </a:solidFill>
            <a:ln w="12700">
              <a:solidFill>
                <a:srgbClr val="000000"/>
              </a:solidFill>
              <a:round/>
              <a:headEnd/>
              <a:tailEnd/>
            </a:ln>
          </p:spPr>
          <p:txBody>
            <a:bodyPr/>
            <a:lstStyle/>
            <a:p>
              <a:endParaRPr lang="en-US"/>
            </a:p>
          </p:txBody>
        </p:sp>
        <p:sp>
          <p:nvSpPr>
            <p:cNvPr id="34902" name="Freeform 83"/>
            <p:cNvSpPr>
              <a:spLocks/>
            </p:cNvSpPr>
            <p:nvPr/>
          </p:nvSpPr>
          <p:spPr bwMode="auto">
            <a:xfrm>
              <a:off x="6745288" y="4060825"/>
              <a:ext cx="433388" cy="403225"/>
            </a:xfrm>
            <a:custGeom>
              <a:avLst/>
              <a:gdLst>
                <a:gd name="T0" fmla="*/ 2147483647 w 354"/>
                <a:gd name="T1" fmla="*/ 2147483647 h 336"/>
                <a:gd name="T2" fmla="*/ 2147483647 w 354"/>
                <a:gd name="T3" fmla="*/ 2147483647 h 336"/>
                <a:gd name="T4" fmla="*/ 2147483647 w 354"/>
                <a:gd name="T5" fmla="*/ 2147483647 h 336"/>
                <a:gd name="T6" fmla="*/ 2147483647 w 354"/>
                <a:gd name="T7" fmla="*/ 2147483647 h 336"/>
                <a:gd name="T8" fmla="*/ 2147483647 w 354"/>
                <a:gd name="T9" fmla="*/ 2147483647 h 336"/>
                <a:gd name="T10" fmla="*/ 2147483647 w 354"/>
                <a:gd name="T11" fmla="*/ 2147483647 h 336"/>
                <a:gd name="T12" fmla="*/ 2147483647 w 354"/>
                <a:gd name="T13" fmla="*/ 2147483647 h 336"/>
                <a:gd name="T14" fmla="*/ 2147483647 w 354"/>
                <a:gd name="T15" fmla="*/ 2147483647 h 336"/>
                <a:gd name="T16" fmla="*/ 2147483647 w 354"/>
                <a:gd name="T17" fmla="*/ 2147483647 h 336"/>
                <a:gd name="T18" fmla="*/ 2147483647 w 354"/>
                <a:gd name="T19" fmla="*/ 2147483647 h 336"/>
                <a:gd name="T20" fmla="*/ 2147483647 w 354"/>
                <a:gd name="T21" fmla="*/ 0 h 336"/>
                <a:gd name="T22" fmla="*/ 2147483647 w 354"/>
                <a:gd name="T23" fmla="*/ 2147483647 h 336"/>
                <a:gd name="T24" fmla="*/ 2147483647 w 354"/>
                <a:gd name="T25" fmla="*/ 2147483647 h 336"/>
                <a:gd name="T26" fmla="*/ 0 w 354"/>
                <a:gd name="T27" fmla="*/ 2147483647 h 336"/>
                <a:gd name="T28" fmla="*/ 2147483647 w 354"/>
                <a:gd name="T29" fmla="*/ 2147483647 h 336"/>
                <a:gd name="T30" fmla="*/ 2147483647 w 354"/>
                <a:gd name="T31" fmla="*/ 2147483647 h 336"/>
                <a:gd name="T32" fmla="*/ 2147483647 w 354"/>
                <a:gd name="T33" fmla="*/ 2147483647 h 336"/>
                <a:gd name="T34" fmla="*/ 2147483647 w 354"/>
                <a:gd name="T35" fmla="*/ 2147483647 h 336"/>
                <a:gd name="T36" fmla="*/ 2147483647 w 354"/>
                <a:gd name="T37" fmla="*/ 2147483647 h 336"/>
                <a:gd name="T38" fmla="*/ 2147483647 w 354"/>
                <a:gd name="T39" fmla="*/ 2147483647 h 336"/>
                <a:gd name="T40" fmla="*/ 2147483647 w 354"/>
                <a:gd name="T41" fmla="*/ 2147483647 h 336"/>
                <a:gd name="T42" fmla="*/ 2147483647 w 354"/>
                <a:gd name="T43" fmla="*/ 2147483647 h 336"/>
                <a:gd name="T44" fmla="*/ 2147483647 w 354"/>
                <a:gd name="T45" fmla="*/ 2147483647 h 336"/>
                <a:gd name="T46" fmla="*/ 2147483647 w 354"/>
                <a:gd name="T47" fmla="*/ 2147483647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4"/>
                <a:gd name="T73" fmla="*/ 0 h 336"/>
                <a:gd name="T74" fmla="*/ 354 w 354"/>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4" h="336">
                  <a:moveTo>
                    <a:pt x="270" y="248"/>
                  </a:moveTo>
                  <a:lnTo>
                    <a:pt x="253" y="224"/>
                  </a:lnTo>
                  <a:lnTo>
                    <a:pt x="278" y="200"/>
                  </a:lnTo>
                  <a:lnTo>
                    <a:pt x="354" y="184"/>
                  </a:lnTo>
                  <a:lnTo>
                    <a:pt x="337" y="152"/>
                  </a:lnTo>
                  <a:lnTo>
                    <a:pt x="303" y="120"/>
                  </a:lnTo>
                  <a:lnTo>
                    <a:pt x="287" y="88"/>
                  </a:lnTo>
                  <a:lnTo>
                    <a:pt x="236" y="72"/>
                  </a:lnTo>
                  <a:lnTo>
                    <a:pt x="211" y="24"/>
                  </a:lnTo>
                  <a:lnTo>
                    <a:pt x="152" y="24"/>
                  </a:lnTo>
                  <a:lnTo>
                    <a:pt x="84" y="0"/>
                  </a:lnTo>
                  <a:lnTo>
                    <a:pt x="59" y="24"/>
                  </a:lnTo>
                  <a:lnTo>
                    <a:pt x="8" y="32"/>
                  </a:lnTo>
                  <a:lnTo>
                    <a:pt x="0" y="40"/>
                  </a:lnTo>
                  <a:lnTo>
                    <a:pt x="34" y="56"/>
                  </a:lnTo>
                  <a:lnTo>
                    <a:pt x="67" y="96"/>
                  </a:lnTo>
                  <a:lnTo>
                    <a:pt x="118" y="136"/>
                  </a:lnTo>
                  <a:lnTo>
                    <a:pt x="152" y="160"/>
                  </a:lnTo>
                  <a:lnTo>
                    <a:pt x="194" y="208"/>
                  </a:lnTo>
                  <a:lnTo>
                    <a:pt x="194" y="248"/>
                  </a:lnTo>
                  <a:lnTo>
                    <a:pt x="211" y="320"/>
                  </a:lnTo>
                  <a:lnTo>
                    <a:pt x="236" y="336"/>
                  </a:lnTo>
                  <a:lnTo>
                    <a:pt x="253" y="312"/>
                  </a:lnTo>
                  <a:lnTo>
                    <a:pt x="270" y="248"/>
                  </a:lnTo>
                  <a:close/>
                </a:path>
              </a:pathLst>
            </a:custGeom>
            <a:solidFill>
              <a:schemeClr val="bg1"/>
            </a:solidFill>
            <a:ln w="12700">
              <a:solidFill>
                <a:srgbClr val="000000"/>
              </a:solidFill>
              <a:round/>
              <a:headEnd/>
              <a:tailEnd/>
            </a:ln>
          </p:spPr>
          <p:txBody>
            <a:bodyPr/>
            <a:lstStyle/>
            <a:p>
              <a:endParaRPr lang="en-US"/>
            </a:p>
          </p:txBody>
        </p:sp>
        <p:sp>
          <p:nvSpPr>
            <p:cNvPr id="34903" name="Freeform 84"/>
            <p:cNvSpPr>
              <a:spLocks/>
            </p:cNvSpPr>
            <p:nvPr/>
          </p:nvSpPr>
          <p:spPr bwMode="auto">
            <a:xfrm>
              <a:off x="5343525" y="3314700"/>
              <a:ext cx="1052513" cy="785813"/>
            </a:xfrm>
            <a:custGeom>
              <a:avLst/>
              <a:gdLst>
                <a:gd name="T0" fmla="*/ 2147483647 w 860"/>
                <a:gd name="T1" fmla="*/ 2147483647 h 656"/>
                <a:gd name="T2" fmla="*/ 2147483647 w 860"/>
                <a:gd name="T3" fmla="*/ 2147483647 h 656"/>
                <a:gd name="T4" fmla="*/ 2147483647 w 860"/>
                <a:gd name="T5" fmla="*/ 2147483647 h 656"/>
                <a:gd name="T6" fmla="*/ 2147483647 w 860"/>
                <a:gd name="T7" fmla="*/ 2147483647 h 656"/>
                <a:gd name="T8" fmla="*/ 2147483647 w 860"/>
                <a:gd name="T9" fmla="*/ 2147483647 h 656"/>
                <a:gd name="T10" fmla="*/ 2147483647 w 860"/>
                <a:gd name="T11" fmla="*/ 2147483647 h 656"/>
                <a:gd name="T12" fmla="*/ 2147483647 w 860"/>
                <a:gd name="T13" fmla="*/ 2147483647 h 656"/>
                <a:gd name="T14" fmla="*/ 2147483647 w 860"/>
                <a:gd name="T15" fmla="*/ 2147483647 h 656"/>
                <a:gd name="T16" fmla="*/ 2147483647 w 860"/>
                <a:gd name="T17" fmla="*/ 2147483647 h 656"/>
                <a:gd name="T18" fmla="*/ 2147483647 w 860"/>
                <a:gd name="T19" fmla="*/ 2147483647 h 656"/>
                <a:gd name="T20" fmla="*/ 2147483647 w 860"/>
                <a:gd name="T21" fmla="*/ 2147483647 h 656"/>
                <a:gd name="T22" fmla="*/ 2147483647 w 860"/>
                <a:gd name="T23" fmla="*/ 2147483647 h 656"/>
                <a:gd name="T24" fmla="*/ 2147483647 w 860"/>
                <a:gd name="T25" fmla="*/ 2147483647 h 656"/>
                <a:gd name="T26" fmla="*/ 2147483647 w 860"/>
                <a:gd name="T27" fmla="*/ 2147483647 h 656"/>
                <a:gd name="T28" fmla="*/ 2147483647 w 860"/>
                <a:gd name="T29" fmla="*/ 2147483647 h 656"/>
                <a:gd name="T30" fmla="*/ 2147483647 w 860"/>
                <a:gd name="T31" fmla="*/ 2147483647 h 656"/>
                <a:gd name="T32" fmla="*/ 2147483647 w 860"/>
                <a:gd name="T33" fmla="*/ 2147483647 h 656"/>
                <a:gd name="T34" fmla="*/ 2147483647 w 860"/>
                <a:gd name="T35" fmla="*/ 2147483647 h 656"/>
                <a:gd name="T36" fmla="*/ 2147483647 w 860"/>
                <a:gd name="T37" fmla="*/ 0 h 656"/>
                <a:gd name="T38" fmla="*/ 2147483647 w 860"/>
                <a:gd name="T39" fmla="*/ 2147483647 h 656"/>
                <a:gd name="T40" fmla="*/ 2147483647 w 860"/>
                <a:gd name="T41" fmla="*/ 2147483647 h 656"/>
                <a:gd name="T42" fmla="*/ 2147483647 w 860"/>
                <a:gd name="T43" fmla="*/ 2147483647 h 656"/>
                <a:gd name="T44" fmla="*/ 2147483647 w 860"/>
                <a:gd name="T45" fmla="*/ 2147483647 h 656"/>
                <a:gd name="T46" fmla="*/ 2147483647 w 860"/>
                <a:gd name="T47" fmla="*/ 2147483647 h 656"/>
                <a:gd name="T48" fmla="*/ 2147483647 w 860"/>
                <a:gd name="T49" fmla="*/ 2147483647 h 656"/>
                <a:gd name="T50" fmla="*/ 2147483647 w 860"/>
                <a:gd name="T51" fmla="*/ 2147483647 h 656"/>
                <a:gd name="T52" fmla="*/ 2147483647 w 860"/>
                <a:gd name="T53" fmla="*/ 2147483647 h 656"/>
                <a:gd name="T54" fmla="*/ 0 w 860"/>
                <a:gd name="T55" fmla="*/ 2147483647 h 656"/>
                <a:gd name="T56" fmla="*/ 2147483647 w 860"/>
                <a:gd name="T57" fmla="*/ 2147483647 h 656"/>
                <a:gd name="T58" fmla="*/ 2147483647 w 860"/>
                <a:gd name="T59" fmla="*/ 2147483647 h 656"/>
                <a:gd name="T60" fmla="*/ 2147483647 w 860"/>
                <a:gd name="T61" fmla="*/ 2147483647 h 656"/>
                <a:gd name="T62" fmla="*/ 2147483647 w 860"/>
                <a:gd name="T63" fmla="*/ 2147483647 h 656"/>
                <a:gd name="T64" fmla="*/ 2147483647 w 860"/>
                <a:gd name="T65" fmla="*/ 2147483647 h 656"/>
                <a:gd name="T66" fmla="*/ 2147483647 w 860"/>
                <a:gd name="T67" fmla="*/ 2147483647 h 656"/>
                <a:gd name="T68" fmla="*/ 2147483647 w 860"/>
                <a:gd name="T69" fmla="*/ 2147483647 h 656"/>
                <a:gd name="T70" fmla="*/ 2147483647 w 860"/>
                <a:gd name="T71" fmla="*/ 2147483647 h 656"/>
                <a:gd name="T72" fmla="*/ 2147483647 w 860"/>
                <a:gd name="T73" fmla="*/ 2147483647 h 656"/>
                <a:gd name="T74" fmla="*/ 2147483647 w 860"/>
                <a:gd name="T75" fmla="*/ 2147483647 h 656"/>
                <a:gd name="T76" fmla="*/ 2147483647 w 860"/>
                <a:gd name="T77" fmla="*/ 2147483647 h 656"/>
                <a:gd name="T78" fmla="*/ 2147483647 w 860"/>
                <a:gd name="T79" fmla="*/ 2147483647 h 656"/>
                <a:gd name="T80" fmla="*/ 2147483647 w 860"/>
                <a:gd name="T81" fmla="*/ 2147483647 h 656"/>
                <a:gd name="T82" fmla="*/ 2147483647 w 860"/>
                <a:gd name="T83" fmla="*/ 2147483647 h 656"/>
                <a:gd name="T84" fmla="*/ 2147483647 w 860"/>
                <a:gd name="T85" fmla="*/ 2147483647 h 656"/>
                <a:gd name="T86" fmla="*/ 2147483647 w 860"/>
                <a:gd name="T87" fmla="*/ 2147483647 h 656"/>
                <a:gd name="T88" fmla="*/ 2147483647 w 860"/>
                <a:gd name="T89" fmla="*/ 2147483647 h 656"/>
                <a:gd name="T90" fmla="*/ 2147483647 w 860"/>
                <a:gd name="T91" fmla="*/ 2147483647 h 656"/>
                <a:gd name="T92" fmla="*/ 2147483647 w 860"/>
                <a:gd name="T93" fmla="*/ 2147483647 h 656"/>
                <a:gd name="T94" fmla="*/ 2147483647 w 860"/>
                <a:gd name="T95" fmla="*/ 2147483647 h 656"/>
                <a:gd name="T96" fmla="*/ 2147483647 w 860"/>
                <a:gd name="T97" fmla="*/ 2147483647 h 656"/>
                <a:gd name="T98" fmla="*/ 2147483647 w 860"/>
                <a:gd name="T99" fmla="*/ 2147483647 h 656"/>
                <a:gd name="T100" fmla="*/ 2147483647 w 860"/>
                <a:gd name="T101" fmla="*/ 2147483647 h 656"/>
                <a:gd name="T102" fmla="*/ 2147483647 w 860"/>
                <a:gd name="T103" fmla="*/ 2147483647 h 656"/>
                <a:gd name="T104" fmla="*/ 2147483647 w 860"/>
                <a:gd name="T105" fmla="*/ 2147483647 h 656"/>
                <a:gd name="T106" fmla="*/ 2147483647 w 860"/>
                <a:gd name="T107" fmla="*/ 2147483647 h 656"/>
                <a:gd name="T108" fmla="*/ 2147483647 w 860"/>
                <a:gd name="T109" fmla="*/ 2147483647 h 656"/>
                <a:gd name="T110" fmla="*/ 2147483647 w 860"/>
                <a:gd name="T111" fmla="*/ 2147483647 h 656"/>
                <a:gd name="T112" fmla="*/ 2147483647 w 860"/>
                <a:gd name="T113" fmla="*/ 2147483647 h 656"/>
                <a:gd name="T114" fmla="*/ 2147483647 w 860"/>
                <a:gd name="T115" fmla="*/ 2147483647 h 656"/>
                <a:gd name="T116" fmla="*/ 2147483647 w 860"/>
                <a:gd name="T117" fmla="*/ 2147483647 h 656"/>
                <a:gd name="T118" fmla="*/ 2147483647 w 860"/>
                <a:gd name="T119" fmla="*/ 2147483647 h 6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60"/>
                <a:gd name="T181" fmla="*/ 0 h 656"/>
                <a:gd name="T182" fmla="*/ 860 w 860"/>
                <a:gd name="T183" fmla="*/ 656 h 6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60" h="656">
                  <a:moveTo>
                    <a:pt x="775" y="560"/>
                  </a:moveTo>
                  <a:lnTo>
                    <a:pt x="826" y="464"/>
                  </a:lnTo>
                  <a:lnTo>
                    <a:pt x="860" y="456"/>
                  </a:lnTo>
                  <a:lnTo>
                    <a:pt x="851" y="416"/>
                  </a:lnTo>
                  <a:lnTo>
                    <a:pt x="817" y="352"/>
                  </a:lnTo>
                  <a:lnTo>
                    <a:pt x="792" y="320"/>
                  </a:lnTo>
                  <a:lnTo>
                    <a:pt x="784" y="264"/>
                  </a:lnTo>
                  <a:lnTo>
                    <a:pt x="750" y="256"/>
                  </a:lnTo>
                  <a:lnTo>
                    <a:pt x="750" y="232"/>
                  </a:lnTo>
                  <a:lnTo>
                    <a:pt x="792" y="184"/>
                  </a:lnTo>
                  <a:lnTo>
                    <a:pt x="750" y="104"/>
                  </a:lnTo>
                  <a:lnTo>
                    <a:pt x="725" y="40"/>
                  </a:lnTo>
                  <a:lnTo>
                    <a:pt x="666" y="16"/>
                  </a:lnTo>
                  <a:lnTo>
                    <a:pt x="531" y="40"/>
                  </a:lnTo>
                  <a:lnTo>
                    <a:pt x="447" y="24"/>
                  </a:lnTo>
                  <a:lnTo>
                    <a:pt x="405" y="48"/>
                  </a:lnTo>
                  <a:lnTo>
                    <a:pt x="362" y="40"/>
                  </a:lnTo>
                  <a:lnTo>
                    <a:pt x="329" y="24"/>
                  </a:lnTo>
                  <a:lnTo>
                    <a:pt x="295" y="0"/>
                  </a:lnTo>
                  <a:lnTo>
                    <a:pt x="253" y="8"/>
                  </a:lnTo>
                  <a:lnTo>
                    <a:pt x="177" y="40"/>
                  </a:lnTo>
                  <a:lnTo>
                    <a:pt x="169" y="72"/>
                  </a:lnTo>
                  <a:lnTo>
                    <a:pt x="126" y="88"/>
                  </a:lnTo>
                  <a:lnTo>
                    <a:pt x="25" y="128"/>
                  </a:lnTo>
                  <a:lnTo>
                    <a:pt x="9" y="128"/>
                  </a:lnTo>
                  <a:lnTo>
                    <a:pt x="17" y="176"/>
                  </a:lnTo>
                  <a:lnTo>
                    <a:pt x="25" y="208"/>
                  </a:lnTo>
                  <a:lnTo>
                    <a:pt x="0" y="256"/>
                  </a:lnTo>
                  <a:lnTo>
                    <a:pt x="51" y="288"/>
                  </a:lnTo>
                  <a:lnTo>
                    <a:pt x="51" y="320"/>
                  </a:lnTo>
                  <a:lnTo>
                    <a:pt x="76" y="360"/>
                  </a:lnTo>
                  <a:lnTo>
                    <a:pt x="59" y="400"/>
                  </a:lnTo>
                  <a:lnTo>
                    <a:pt x="84" y="432"/>
                  </a:lnTo>
                  <a:lnTo>
                    <a:pt x="84" y="472"/>
                  </a:lnTo>
                  <a:lnTo>
                    <a:pt x="126" y="496"/>
                  </a:lnTo>
                  <a:lnTo>
                    <a:pt x="169" y="512"/>
                  </a:lnTo>
                  <a:lnTo>
                    <a:pt x="211" y="512"/>
                  </a:lnTo>
                  <a:lnTo>
                    <a:pt x="202" y="544"/>
                  </a:lnTo>
                  <a:lnTo>
                    <a:pt x="244" y="576"/>
                  </a:lnTo>
                  <a:lnTo>
                    <a:pt x="270" y="560"/>
                  </a:lnTo>
                  <a:lnTo>
                    <a:pt x="270" y="536"/>
                  </a:lnTo>
                  <a:lnTo>
                    <a:pt x="320" y="552"/>
                  </a:lnTo>
                  <a:lnTo>
                    <a:pt x="337" y="576"/>
                  </a:lnTo>
                  <a:lnTo>
                    <a:pt x="379" y="584"/>
                  </a:lnTo>
                  <a:lnTo>
                    <a:pt x="421" y="592"/>
                  </a:lnTo>
                  <a:lnTo>
                    <a:pt x="438" y="624"/>
                  </a:lnTo>
                  <a:lnTo>
                    <a:pt x="464" y="640"/>
                  </a:lnTo>
                  <a:lnTo>
                    <a:pt x="497" y="616"/>
                  </a:lnTo>
                  <a:lnTo>
                    <a:pt x="523" y="640"/>
                  </a:lnTo>
                  <a:lnTo>
                    <a:pt x="531" y="656"/>
                  </a:lnTo>
                  <a:lnTo>
                    <a:pt x="556" y="656"/>
                  </a:lnTo>
                  <a:lnTo>
                    <a:pt x="581" y="632"/>
                  </a:lnTo>
                  <a:lnTo>
                    <a:pt x="615" y="632"/>
                  </a:lnTo>
                  <a:lnTo>
                    <a:pt x="640" y="616"/>
                  </a:lnTo>
                  <a:lnTo>
                    <a:pt x="683" y="616"/>
                  </a:lnTo>
                  <a:lnTo>
                    <a:pt x="708" y="624"/>
                  </a:lnTo>
                  <a:lnTo>
                    <a:pt x="767" y="632"/>
                  </a:lnTo>
                  <a:lnTo>
                    <a:pt x="758" y="640"/>
                  </a:lnTo>
                  <a:lnTo>
                    <a:pt x="792" y="632"/>
                  </a:lnTo>
                  <a:lnTo>
                    <a:pt x="775" y="56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04" name="Freeform 85"/>
            <p:cNvSpPr>
              <a:spLocks/>
            </p:cNvSpPr>
            <p:nvPr/>
          </p:nvSpPr>
          <p:spPr bwMode="auto">
            <a:xfrm>
              <a:off x="5891213" y="3236913"/>
              <a:ext cx="255588" cy="134938"/>
            </a:xfrm>
            <a:custGeom>
              <a:avLst/>
              <a:gdLst>
                <a:gd name="T0" fmla="*/ 2147483647 w 210"/>
                <a:gd name="T1" fmla="*/ 2147483647 h 112"/>
                <a:gd name="T2" fmla="*/ 2147483647 w 210"/>
                <a:gd name="T3" fmla="*/ 2147483647 h 112"/>
                <a:gd name="T4" fmla="*/ 2147483647 w 210"/>
                <a:gd name="T5" fmla="*/ 0 h 112"/>
                <a:gd name="T6" fmla="*/ 2147483647 w 210"/>
                <a:gd name="T7" fmla="*/ 2147483647 h 112"/>
                <a:gd name="T8" fmla="*/ 2147483647 w 210"/>
                <a:gd name="T9" fmla="*/ 2147483647 h 112"/>
                <a:gd name="T10" fmla="*/ 2147483647 w 210"/>
                <a:gd name="T11" fmla="*/ 2147483647 h 112"/>
                <a:gd name="T12" fmla="*/ 2147483647 w 210"/>
                <a:gd name="T13" fmla="*/ 2147483647 h 112"/>
                <a:gd name="T14" fmla="*/ 0 w 210"/>
                <a:gd name="T15" fmla="*/ 2147483647 h 112"/>
                <a:gd name="T16" fmla="*/ 2147483647 w 210"/>
                <a:gd name="T17" fmla="*/ 2147483647 h 112"/>
                <a:gd name="T18" fmla="*/ 2147483647 w 210"/>
                <a:gd name="T19" fmla="*/ 2147483647 h 112"/>
                <a:gd name="T20" fmla="*/ 2147483647 w 210"/>
                <a:gd name="T21" fmla="*/ 2147483647 h 112"/>
                <a:gd name="T22" fmla="*/ 2147483647 w 210"/>
                <a:gd name="T23" fmla="*/ 2147483647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12"/>
                <a:gd name="T38" fmla="*/ 210 w 210"/>
                <a:gd name="T39" fmla="*/ 112 h 1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05" name="Freeform 86"/>
            <p:cNvSpPr>
              <a:spLocks/>
            </p:cNvSpPr>
            <p:nvPr/>
          </p:nvSpPr>
          <p:spPr bwMode="auto">
            <a:xfrm>
              <a:off x="5343525" y="3314700"/>
              <a:ext cx="1052513" cy="785813"/>
            </a:xfrm>
            <a:custGeom>
              <a:avLst/>
              <a:gdLst>
                <a:gd name="T0" fmla="*/ 2147483647 w 860"/>
                <a:gd name="T1" fmla="*/ 2147483647 h 656"/>
                <a:gd name="T2" fmla="*/ 2147483647 w 860"/>
                <a:gd name="T3" fmla="*/ 2147483647 h 656"/>
                <a:gd name="T4" fmla="*/ 2147483647 w 860"/>
                <a:gd name="T5" fmla="*/ 2147483647 h 656"/>
                <a:gd name="T6" fmla="*/ 2147483647 w 860"/>
                <a:gd name="T7" fmla="*/ 2147483647 h 656"/>
                <a:gd name="T8" fmla="*/ 2147483647 w 860"/>
                <a:gd name="T9" fmla="*/ 2147483647 h 656"/>
                <a:gd name="T10" fmla="*/ 2147483647 w 860"/>
                <a:gd name="T11" fmla="*/ 2147483647 h 656"/>
                <a:gd name="T12" fmla="*/ 2147483647 w 860"/>
                <a:gd name="T13" fmla="*/ 2147483647 h 656"/>
                <a:gd name="T14" fmla="*/ 2147483647 w 860"/>
                <a:gd name="T15" fmla="*/ 2147483647 h 656"/>
                <a:gd name="T16" fmla="*/ 2147483647 w 860"/>
                <a:gd name="T17" fmla="*/ 2147483647 h 656"/>
                <a:gd name="T18" fmla="*/ 2147483647 w 860"/>
                <a:gd name="T19" fmla="*/ 2147483647 h 656"/>
                <a:gd name="T20" fmla="*/ 2147483647 w 860"/>
                <a:gd name="T21" fmla="*/ 2147483647 h 656"/>
                <a:gd name="T22" fmla="*/ 2147483647 w 860"/>
                <a:gd name="T23" fmla="*/ 2147483647 h 656"/>
                <a:gd name="T24" fmla="*/ 2147483647 w 860"/>
                <a:gd name="T25" fmla="*/ 2147483647 h 656"/>
                <a:gd name="T26" fmla="*/ 2147483647 w 860"/>
                <a:gd name="T27" fmla="*/ 2147483647 h 656"/>
                <a:gd name="T28" fmla="*/ 2147483647 w 860"/>
                <a:gd name="T29" fmla="*/ 2147483647 h 656"/>
                <a:gd name="T30" fmla="*/ 2147483647 w 860"/>
                <a:gd name="T31" fmla="*/ 2147483647 h 656"/>
                <a:gd name="T32" fmla="*/ 2147483647 w 860"/>
                <a:gd name="T33" fmla="*/ 2147483647 h 656"/>
                <a:gd name="T34" fmla="*/ 2147483647 w 860"/>
                <a:gd name="T35" fmla="*/ 2147483647 h 656"/>
                <a:gd name="T36" fmla="*/ 2147483647 w 860"/>
                <a:gd name="T37" fmla="*/ 0 h 656"/>
                <a:gd name="T38" fmla="*/ 2147483647 w 860"/>
                <a:gd name="T39" fmla="*/ 2147483647 h 656"/>
                <a:gd name="T40" fmla="*/ 2147483647 w 860"/>
                <a:gd name="T41" fmla="*/ 2147483647 h 656"/>
                <a:gd name="T42" fmla="*/ 2147483647 w 860"/>
                <a:gd name="T43" fmla="*/ 2147483647 h 656"/>
                <a:gd name="T44" fmla="*/ 2147483647 w 860"/>
                <a:gd name="T45" fmla="*/ 2147483647 h 656"/>
                <a:gd name="T46" fmla="*/ 2147483647 w 860"/>
                <a:gd name="T47" fmla="*/ 2147483647 h 656"/>
                <a:gd name="T48" fmla="*/ 2147483647 w 860"/>
                <a:gd name="T49" fmla="*/ 2147483647 h 656"/>
                <a:gd name="T50" fmla="*/ 2147483647 w 860"/>
                <a:gd name="T51" fmla="*/ 2147483647 h 656"/>
                <a:gd name="T52" fmla="*/ 2147483647 w 860"/>
                <a:gd name="T53" fmla="*/ 2147483647 h 656"/>
                <a:gd name="T54" fmla="*/ 0 w 860"/>
                <a:gd name="T55" fmla="*/ 2147483647 h 656"/>
                <a:gd name="T56" fmla="*/ 2147483647 w 860"/>
                <a:gd name="T57" fmla="*/ 2147483647 h 656"/>
                <a:gd name="T58" fmla="*/ 2147483647 w 860"/>
                <a:gd name="T59" fmla="*/ 2147483647 h 656"/>
                <a:gd name="T60" fmla="*/ 2147483647 w 860"/>
                <a:gd name="T61" fmla="*/ 2147483647 h 656"/>
                <a:gd name="T62" fmla="*/ 2147483647 w 860"/>
                <a:gd name="T63" fmla="*/ 2147483647 h 656"/>
                <a:gd name="T64" fmla="*/ 2147483647 w 860"/>
                <a:gd name="T65" fmla="*/ 2147483647 h 656"/>
                <a:gd name="T66" fmla="*/ 2147483647 w 860"/>
                <a:gd name="T67" fmla="*/ 2147483647 h 656"/>
                <a:gd name="T68" fmla="*/ 2147483647 w 860"/>
                <a:gd name="T69" fmla="*/ 2147483647 h 656"/>
                <a:gd name="T70" fmla="*/ 2147483647 w 860"/>
                <a:gd name="T71" fmla="*/ 2147483647 h 656"/>
                <a:gd name="T72" fmla="*/ 2147483647 w 860"/>
                <a:gd name="T73" fmla="*/ 2147483647 h 656"/>
                <a:gd name="T74" fmla="*/ 2147483647 w 860"/>
                <a:gd name="T75" fmla="*/ 2147483647 h 656"/>
                <a:gd name="T76" fmla="*/ 2147483647 w 860"/>
                <a:gd name="T77" fmla="*/ 2147483647 h 656"/>
                <a:gd name="T78" fmla="*/ 2147483647 w 860"/>
                <a:gd name="T79" fmla="*/ 2147483647 h 656"/>
                <a:gd name="T80" fmla="*/ 2147483647 w 860"/>
                <a:gd name="T81" fmla="*/ 2147483647 h 656"/>
                <a:gd name="T82" fmla="*/ 2147483647 w 860"/>
                <a:gd name="T83" fmla="*/ 2147483647 h 656"/>
                <a:gd name="T84" fmla="*/ 2147483647 w 860"/>
                <a:gd name="T85" fmla="*/ 2147483647 h 656"/>
                <a:gd name="T86" fmla="*/ 2147483647 w 860"/>
                <a:gd name="T87" fmla="*/ 2147483647 h 656"/>
                <a:gd name="T88" fmla="*/ 2147483647 w 860"/>
                <a:gd name="T89" fmla="*/ 2147483647 h 656"/>
                <a:gd name="T90" fmla="*/ 2147483647 w 860"/>
                <a:gd name="T91" fmla="*/ 2147483647 h 656"/>
                <a:gd name="T92" fmla="*/ 2147483647 w 860"/>
                <a:gd name="T93" fmla="*/ 2147483647 h 656"/>
                <a:gd name="T94" fmla="*/ 2147483647 w 860"/>
                <a:gd name="T95" fmla="*/ 2147483647 h 656"/>
                <a:gd name="T96" fmla="*/ 2147483647 w 860"/>
                <a:gd name="T97" fmla="*/ 2147483647 h 656"/>
                <a:gd name="T98" fmla="*/ 2147483647 w 860"/>
                <a:gd name="T99" fmla="*/ 2147483647 h 656"/>
                <a:gd name="T100" fmla="*/ 2147483647 w 860"/>
                <a:gd name="T101" fmla="*/ 2147483647 h 656"/>
                <a:gd name="T102" fmla="*/ 2147483647 w 860"/>
                <a:gd name="T103" fmla="*/ 2147483647 h 656"/>
                <a:gd name="T104" fmla="*/ 2147483647 w 860"/>
                <a:gd name="T105" fmla="*/ 2147483647 h 656"/>
                <a:gd name="T106" fmla="*/ 2147483647 w 860"/>
                <a:gd name="T107" fmla="*/ 2147483647 h 656"/>
                <a:gd name="T108" fmla="*/ 2147483647 w 860"/>
                <a:gd name="T109" fmla="*/ 2147483647 h 656"/>
                <a:gd name="T110" fmla="*/ 2147483647 w 860"/>
                <a:gd name="T111" fmla="*/ 2147483647 h 656"/>
                <a:gd name="T112" fmla="*/ 2147483647 w 860"/>
                <a:gd name="T113" fmla="*/ 2147483647 h 656"/>
                <a:gd name="T114" fmla="*/ 2147483647 w 860"/>
                <a:gd name="T115" fmla="*/ 2147483647 h 656"/>
                <a:gd name="T116" fmla="*/ 2147483647 w 860"/>
                <a:gd name="T117" fmla="*/ 2147483647 h 656"/>
                <a:gd name="T118" fmla="*/ 2147483647 w 860"/>
                <a:gd name="T119" fmla="*/ 2147483647 h 656"/>
                <a:gd name="T120" fmla="*/ 2147483647 w 860"/>
                <a:gd name="T121" fmla="*/ 2147483647 h 6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0"/>
                <a:gd name="T184" fmla="*/ 0 h 656"/>
                <a:gd name="T185" fmla="*/ 860 w 860"/>
                <a:gd name="T186" fmla="*/ 656 h 65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0" h="656">
                  <a:moveTo>
                    <a:pt x="775" y="560"/>
                  </a:moveTo>
                  <a:lnTo>
                    <a:pt x="826" y="464"/>
                  </a:lnTo>
                  <a:lnTo>
                    <a:pt x="860" y="456"/>
                  </a:lnTo>
                  <a:lnTo>
                    <a:pt x="851" y="416"/>
                  </a:lnTo>
                  <a:lnTo>
                    <a:pt x="817" y="352"/>
                  </a:lnTo>
                  <a:lnTo>
                    <a:pt x="792" y="320"/>
                  </a:lnTo>
                  <a:lnTo>
                    <a:pt x="784" y="264"/>
                  </a:lnTo>
                  <a:lnTo>
                    <a:pt x="750" y="256"/>
                  </a:lnTo>
                  <a:lnTo>
                    <a:pt x="750" y="232"/>
                  </a:lnTo>
                  <a:lnTo>
                    <a:pt x="792" y="184"/>
                  </a:lnTo>
                  <a:lnTo>
                    <a:pt x="750" y="104"/>
                  </a:lnTo>
                  <a:lnTo>
                    <a:pt x="725" y="40"/>
                  </a:lnTo>
                  <a:lnTo>
                    <a:pt x="666" y="16"/>
                  </a:lnTo>
                  <a:lnTo>
                    <a:pt x="531" y="40"/>
                  </a:lnTo>
                  <a:lnTo>
                    <a:pt x="447" y="24"/>
                  </a:lnTo>
                  <a:lnTo>
                    <a:pt x="405" y="48"/>
                  </a:lnTo>
                  <a:lnTo>
                    <a:pt x="362" y="40"/>
                  </a:lnTo>
                  <a:lnTo>
                    <a:pt x="329" y="24"/>
                  </a:lnTo>
                  <a:lnTo>
                    <a:pt x="295" y="0"/>
                  </a:lnTo>
                  <a:lnTo>
                    <a:pt x="253" y="8"/>
                  </a:lnTo>
                  <a:lnTo>
                    <a:pt x="177" y="40"/>
                  </a:lnTo>
                  <a:lnTo>
                    <a:pt x="169" y="72"/>
                  </a:lnTo>
                  <a:lnTo>
                    <a:pt x="126" y="88"/>
                  </a:lnTo>
                  <a:lnTo>
                    <a:pt x="25" y="128"/>
                  </a:lnTo>
                  <a:lnTo>
                    <a:pt x="9" y="128"/>
                  </a:lnTo>
                  <a:lnTo>
                    <a:pt x="17" y="176"/>
                  </a:lnTo>
                  <a:lnTo>
                    <a:pt x="25" y="208"/>
                  </a:lnTo>
                  <a:lnTo>
                    <a:pt x="0" y="256"/>
                  </a:lnTo>
                  <a:lnTo>
                    <a:pt x="51" y="288"/>
                  </a:lnTo>
                  <a:lnTo>
                    <a:pt x="51" y="320"/>
                  </a:lnTo>
                  <a:lnTo>
                    <a:pt x="76" y="360"/>
                  </a:lnTo>
                  <a:lnTo>
                    <a:pt x="59" y="400"/>
                  </a:lnTo>
                  <a:lnTo>
                    <a:pt x="84" y="432"/>
                  </a:lnTo>
                  <a:lnTo>
                    <a:pt x="84" y="472"/>
                  </a:lnTo>
                  <a:lnTo>
                    <a:pt x="126" y="496"/>
                  </a:lnTo>
                  <a:lnTo>
                    <a:pt x="169" y="512"/>
                  </a:lnTo>
                  <a:lnTo>
                    <a:pt x="211" y="512"/>
                  </a:lnTo>
                  <a:lnTo>
                    <a:pt x="202" y="544"/>
                  </a:lnTo>
                  <a:lnTo>
                    <a:pt x="244" y="576"/>
                  </a:lnTo>
                  <a:lnTo>
                    <a:pt x="270" y="560"/>
                  </a:lnTo>
                  <a:lnTo>
                    <a:pt x="270" y="536"/>
                  </a:lnTo>
                  <a:lnTo>
                    <a:pt x="320" y="552"/>
                  </a:lnTo>
                  <a:lnTo>
                    <a:pt x="337" y="576"/>
                  </a:lnTo>
                  <a:lnTo>
                    <a:pt x="379" y="584"/>
                  </a:lnTo>
                  <a:lnTo>
                    <a:pt x="421" y="592"/>
                  </a:lnTo>
                  <a:lnTo>
                    <a:pt x="438" y="624"/>
                  </a:lnTo>
                  <a:lnTo>
                    <a:pt x="464" y="640"/>
                  </a:lnTo>
                  <a:lnTo>
                    <a:pt x="497" y="616"/>
                  </a:lnTo>
                  <a:lnTo>
                    <a:pt x="523" y="640"/>
                  </a:lnTo>
                  <a:lnTo>
                    <a:pt x="531" y="656"/>
                  </a:lnTo>
                  <a:lnTo>
                    <a:pt x="556" y="656"/>
                  </a:lnTo>
                  <a:lnTo>
                    <a:pt x="581" y="632"/>
                  </a:lnTo>
                  <a:lnTo>
                    <a:pt x="615" y="632"/>
                  </a:lnTo>
                  <a:lnTo>
                    <a:pt x="640" y="616"/>
                  </a:lnTo>
                  <a:lnTo>
                    <a:pt x="683" y="616"/>
                  </a:lnTo>
                  <a:lnTo>
                    <a:pt x="708" y="624"/>
                  </a:lnTo>
                  <a:lnTo>
                    <a:pt x="767" y="632"/>
                  </a:lnTo>
                  <a:lnTo>
                    <a:pt x="758" y="640"/>
                  </a:lnTo>
                  <a:lnTo>
                    <a:pt x="792" y="632"/>
                  </a:lnTo>
                  <a:lnTo>
                    <a:pt x="775" y="560"/>
                  </a:lnTo>
                  <a:close/>
                </a:path>
              </a:pathLst>
            </a:custGeom>
            <a:solidFill>
              <a:schemeClr val="bg1"/>
            </a:solidFill>
            <a:ln w="12700">
              <a:solidFill>
                <a:srgbClr val="000000"/>
              </a:solidFill>
              <a:round/>
              <a:headEnd/>
              <a:tailEnd/>
            </a:ln>
          </p:spPr>
          <p:txBody>
            <a:bodyPr/>
            <a:lstStyle/>
            <a:p>
              <a:endParaRPr lang="en-US"/>
            </a:p>
          </p:txBody>
        </p:sp>
        <p:sp>
          <p:nvSpPr>
            <p:cNvPr id="34906" name="Freeform 87"/>
            <p:cNvSpPr>
              <a:spLocks/>
            </p:cNvSpPr>
            <p:nvPr/>
          </p:nvSpPr>
          <p:spPr bwMode="auto">
            <a:xfrm>
              <a:off x="5891213" y="3227388"/>
              <a:ext cx="255588" cy="134938"/>
            </a:xfrm>
            <a:custGeom>
              <a:avLst/>
              <a:gdLst>
                <a:gd name="T0" fmla="*/ 2147483647 w 210"/>
                <a:gd name="T1" fmla="*/ 2147483647 h 112"/>
                <a:gd name="T2" fmla="*/ 2147483647 w 210"/>
                <a:gd name="T3" fmla="*/ 2147483647 h 112"/>
                <a:gd name="T4" fmla="*/ 2147483647 w 210"/>
                <a:gd name="T5" fmla="*/ 0 h 112"/>
                <a:gd name="T6" fmla="*/ 2147483647 w 210"/>
                <a:gd name="T7" fmla="*/ 2147483647 h 112"/>
                <a:gd name="T8" fmla="*/ 2147483647 w 210"/>
                <a:gd name="T9" fmla="*/ 2147483647 h 112"/>
                <a:gd name="T10" fmla="*/ 2147483647 w 210"/>
                <a:gd name="T11" fmla="*/ 2147483647 h 112"/>
                <a:gd name="T12" fmla="*/ 2147483647 w 210"/>
                <a:gd name="T13" fmla="*/ 2147483647 h 112"/>
                <a:gd name="T14" fmla="*/ 0 w 210"/>
                <a:gd name="T15" fmla="*/ 2147483647 h 112"/>
                <a:gd name="T16" fmla="*/ 2147483647 w 210"/>
                <a:gd name="T17" fmla="*/ 2147483647 h 112"/>
                <a:gd name="T18" fmla="*/ 2147483647 w 210"/>
                <a:gd name="T19" fmla="*/ 2147483647 h 112"/>
                <a:gd name="T20" fmla="*/ 2147483647 w 210"/>
                <a:gd name="T21" fmla="*/ 2147483647 h 112"/>
                <a:gd name="T22" fmla="*/ 2147483647 w 210"/>
                <a:gd name="T23" fmla="*/ 2147483647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12"/>
                <a:gd name="T38" fmla="*/ 210 w 210"/>
                <a:gd name="T39" fmla="*/ 112 h 1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solidFill>
              <a:schemeClr val="bg1"/>
            </a:solidFill>
            <a:ln w="12700">
              <a:solidFill>
                <a:srgbClr val="000000"/>
              </a:solidFill>
              <a:round/>
              <a:headEnd/>
              <a:tailEnd/>
            </a:ln>
          </p:spPr>
          <p:txBody>
            <a:bodyPr/>
            <a:lstStyle/>
            <a:p>
              <a:endParaRPr lang="en-US"/>
            </a:p>
          </p:txBody>
        </p:sp>
        <p:sp>
          <p:nvSpPr>
            <p:cNvPr id="34907" name="Freeform 88"/>
            <p:cNvSpPr>
              <a:spLocks/>
            </p:cNvSpPr>
            <p:nvPr/>
          </p:nvSpPr>
          <p:spPr bwMode="auto">
            <a:xfrm>
              <a:off x="5942013" y="3016250"/>
              <a:ext cx="557213" cy="384175"/>
            </a:xfrm>
            <a:custGeom>
              <a:avLst/>
              <a:gdLst>
                <a:gd name="T0" fmla="*/ 2147483647 w 455"/>
                <a:gd name="T1" fmla="*/ 2147483647 h 320"/>
                <a:gd name="T2" fmla="*/ 2147483647 w 455"/>
                <a:gd name="T3" fmla="*/ 2147483647 h 320"/>
                <a:gd name="T4" fmla="*/ 2147483647 w 455"/>
                <a:gd name="T5" fmla="*/ 2147483647 h 320"/>
                <a:gd name="T6" fmla="*/ 2147483647 w 455"/>
                <a:gd name="T7" fmla="*/ 2147483647 h 320"/>
                <a:gd name="T8" fmla="*/ 2147483647 w 455"/>
                <a:gd name="T9" fmla="*/ 2147483647 h 320"/>
                <a:gd name="T10" fmla="*/ 2147483647 w 455"/>
                <a:gd name="T11" fmla="*/ 2147483647 h 320"/>
                <a:gd name="T12" fmla="*/ 2147483647 w 455"/>
                <a:gd name="T13" fmla="*/ 2147483647 h 320"/>
                <a:gd name="T14" fmla="*/ 2147483647 w 455"/>
                <a:gd name="T15" fmla="*/ 2147483647 h 320"/>
                <a:gd name="T16" fmla="*/ 2147483647 w 455"/>
                <a:gd name="T17" fmla="*/ 2147483647 h 320"/>
                <a:gd name="T18" fmla="*/ 2147483647 w 455"/>
                <a:gd name="T19" fmla="*/ 2147483647 h 320"/>
                <a:gd name="T20" fmla="*/ 2147483647 w 455"/>
                <a:gd name="T21" fmla="*/ 2147483647 h 320"/>
                <a:gd name="T22" fmla="*/ 2147483647 w 455"/>
                <a:gd name="T23" fmla="*/ 2147483647 h 320"/>
                <a:gd name="T24" fmla="*/ 2147483647 w 455"/>
                <a:gd name="T25" fmla="*/ 2147483647 h 320"/>
                <a:gd name="T26" fmla="*/ 2147483647 w 455"/>
                <a:gd name="T27" fmla="*/ 2147483647 h 320"/>
                <a:gd name="T28" fmla="*/ 2147483647 w 455"/>
                <a:gd name="T29" fmla="*/ 2147483647 h 320"/>
                <a:gd name="T30" fmla="*/ 2147483647 w 455"/>
                <a:gd name="T31" fmla="*/ 2147483647 h 320"/>
                <a:gd name="T32" fmla="*/ 2147483647 w 455"/>
                <a:gd name="T33" fmla="*/ 2147483647 h 320"/>
                <a:gd name="T34" fmla="*/ 2147483647 w 455"/>
                <a:gd name="T35" fmla="*/ 2147483647 h 320"/>
                <a:gd name="T36" fmla="*/ 2147483647 w 455"/>
                <a:gd name="T37" fmla="*/ 2147483647 h 320"/>
                <a:gd name="T38" fmla="*/ 2147483647 w 455"/>
                <a:gd name="T39" fmla="*/ 0 h 320"/>
                <a:gd name="T40" fmla="*/ 2147483647 w 455"/>
                <a:gd name="T41" fmla="*/ 2147483647 h 320"/>
                <a:gd name="T42" fmla="*/ 2147483647 w 455"/>
                <a:gd name="T43" fmla="*/ 2147483647 h 320"/>
                <a:gd name="T44" fmla="*/ 2147483647 w 455"/>
                <a:gd name="T45" fmla="*/ 2147483647 h 320"/>
                <a:gd name="T46" fmla="*/ 2147483647 w 455"/>
                <a:gd name="T47" fmla="*/ 2147483647 h 320"/>
                <a:gd name="T48" fmla="*/ 2147483647 w 455"/>
                <a:gd name="T49" fmla="*/ 2147483647 h 320"/>
                <a:gd name="T50" fmla="*/ 0 w 455"/>
                <a:gd name="T51" fmla="*/ 2147483647 h 320"/>
                <a:gd name="T52" fmla="*/ 2147483647 w 455"/>
                <a:gd name="T53" fmla="*/ 2147483647 h 320"/>
                <a:gd name="T54" fmla="*/ 2147483647 w 455"/>
                <a:gd name="T55" fmla="*/ 2147483647 h 320"/>
                <a:gd name="T56" fmla="*/ 2147483647 w 455"/>
                <a:gd name="T57" fmla="*/ 2147483647 h 320"/>
                <a:gd name="T58" fmla="*/ 2147483647 w 455"/>
                <a:gd name="T59" fmla="*/ 2147483647 h 320"/>
                <a:gd name="T60" fmla="*/ 2147483647 w 455"/>
                <a:gd name="T61" fmla="*/ 2147483647 h 320"/>
                <a:gd name="T62" fmla="*/ 2147483647 w 455"/>
                <a:gd name="T63" fmla="*/ 2147483647 h 320"/>
                <a:gd name="T64" fmla="*/ 2147483647 w 455"/>
                <a:gd name="T65" fmla="*/ 2147483647 h 320"/>
                <a:gd name="T66" fmla="*/ 2147483647 w 455"/>
                <a:gd name="T67" fmla="*/ 2147483647 h 320"/>
                <a:gd name="T68" fmla="*/ 2147483647 w 455"/>
                <a:gd name="T69" fmla="*/ 2147483647 h 320"/>
                <a:gd name="T70" fmla="*/ 2147483647 w 455"/>
                <a:gd name="T71" fmla="*/ 2147483647 h 320"/>
                <a:gd name="T72" fmla="*/ 2147483647 w 455"/>
                <a:gd name="T73" fmla="*/ 2147483647 h 320"/>
                <a:gd name="T74" fmla="*/ 2147483647 w 455"/>
                <a:gd name="T75" fmla="*/ 2147483647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5"/>
                <a:gd name="T115" fmla="*/ 0 h 320"/>
                <a:gd name="T116" fmla="*/ 455 w 455"/>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5" h="320">
                  <a:moveTo>
                    <a:pt x="312" y="304"/>
                  </a:moveTo>
                  <a:lnTo>
                    <a:pt x="328" y="296"/>
                  </a:lnTo>
                  <a:lnTo>
                    <a:pt x="320" y="272"/>
                  </a:lnTo>
                  <a:lnTo>
                    <a:pt x="354" y="264"/>
                  </a:lnTo>
                  <a:lnTo>
                    <a:pt x="379" y="248"/>
                  </a:lnTo>
                  <a:lnTo>
                    <a:pt x="404" y="256"/>
                  </a:lnTo>
                  <a:lnTo>
                    <a:pt x="387" y="224"/>
                  </a:lnTo>
                  <a:lnTo>
                    <a:pt x="387" y="192"/>
                  </a:lnTo>
                  <a:lnTo>
                    <a:pt x="387" y="160"/>
                  </a:lnTo>
                  <a:lnTo>
                    <a:pt x="413" y="152"/>
                  </a:lnTo>
                  <a:lnTo>
                    <a:pt x="421" y="128"/>
                  </a:lnTo>
                  <a:lnTo>
                    <a:pt x="446" y="120"/>
                  </a:lnTo>
                  <a:lnTo>
                    <a:pt x="455" y="104"/>
                  </a:lnTo>
                  <a:lnTo>
                    <a:pt x="430" y="96"/>
                  </a:lnTo>
                  <a:lnTo>
                    <a:pt x="430" y="64"/>
                  </a:lnTo>
                  <a:lnTo>
                    <a:pt x="396" y="56"/>
                  </a:lnTo>
                  <a:lnTo>
                    <a:pt x="371" y="40"/>
                  </a:lnTo>
                  <a:lnTo>
                    <a:pt x="337" y="24"/>
                  </a:lnTo>
                  <a:lnTo>
                    <a:pt x="286" y="16"/>
                  </a:lnTo>
                  <a:lnTo>
                    <a:pt x="278" y="0"/>
                  </a:lnTo>
                  <a:lnTo>
                    <a:pt x="227" y="32"/>
                  </a:lnTo>
                  <a:lnTo>
                    <a:pt x="185" y="24"/>
                  </a:lnTo>
                  <a:lnTo>
                    <a:pt x="143" y="32"/>
                  </a:lnTo>
                  <a:lnTo>
                    <a:pt x="84" y="32"/>
                  </a:lnTo>
                  <a:lnTo>
                    <a:pt x="25" y="64"/>
                  </a:lnTo>
                  <a:lnTo>
                    <a:pt x="0" y="88"/>
                  </a:lnTo>
                  <a:lnTo>
                    <a:pt x="8" y="104"/>
                  </a:lnTo>
                  <a:lnTo>
                    <a:pt x="25" y="168"/>
                  </a:lnTo>
                  <a:lnTo>
                    <a:pt x="34" y="184"/>
                  </a:lnTo>
                  <a:lnTo>
                    <a:pt x="67" y="192"/>
                  </a:lnTo>
                  <a:lnTo>
                    <a:pt x="126" y="192"/>
                  </a:lnTo>
                  <a:lnTo>
                    <a:pt x="151" y="200"/>
                  </a:lnTo>
                  <a:lnTo>
                    <a:pt x="168" y="272"/>
                  </a:lnTo>
                  <a:lnTo>
                    <a:pt x="177" y="272"/>
                  </a:lnTo>
                  <a:lnTo>
                    <a:pt x="236" y="296"/>
                  </a:lnTo>
                  <a:lnTo>
                    <a:pt x="244" y="320"/>
                  </a:lnTo>
                  <a:lnTo>
                    <a:pt x="278" y="296"/>
                  </a:lnTo>
                  <a:lnTo>
                    <a:pt x="312" y="30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08" name="Freeform 89"/>
            <p:cNvSpPr>
              <a:spLocks/>
            </p:cNvSpPr>
            <p:nvPr/>
          </p:nvSpPr>
          <p:spPr bwMode="auto">
            <a:xfrm>
              <a:off x="6251575" y="3381375"/>
              <a:ext cx="1185863" cy="1111250"/>
            </a:xfrm>
            <a:custGeom>
              <a:avLst/>
              <a:gdLst>
                <a:gd name="T0" fmla="*/ 2147483647 w 969"/>
                <a:gd name="T1" fmla="*/ 2147483647 h 928"/>
                <a:gd name="T2" fmla="*/ 2147483647 w 969"/>
                <a:gd name="T3" fmla="*/ 2147483647 h 928"/>
                <a:gd name="T4" fmla="*/ 2147483647 w 969"/>
                <a:gd name="T5" fmla="*/ 0 h 928"/>
                <a:gd name="T6" fmla="*/ 2147483647 w 969"/>
                <a:gd name="T7" fmla="*/ 2147483647 h 928"/>
                <a:gd name="T8" fmla="*/ 2147483647 w 969"/>
                <a:gd name="T9" fmla="*/ 2147483647 h 928"/>
                <a:gd name="T10" fmla="*/ 2147483647 w 969"/>
                <a:gd name="T11" fmla="*/ 2147483647 h 928"/>
                <a:gd name="T12" fmla="*/ 2147483647 w 969"/>
                <a:gd name="T13" fmla="*/ 2147483647 h 928"/>
                <a:gd name="T14" fmla="*/ 2147483647 w 969"/>
                <a:gd name="T15" fmla="*/ 2147483647 h 928"/>
                <a:gd name="T16" fmla="*/ 2147483647 w 969"/>
                <a:gd name="T17" fmla="*/ 2147483647 h 928"/>
                <a:gd name="T18" fmla="*/ 2147483647 w 969"/>
                <a:gd name="T19" fmla="*/ 2147483647 h 928"/>
                <a:gd name="T20" fmla="*/ 2147483647 w 969"/>
                <a:gd name="T21" fmla="*/ 2147483647 h 928"/>
                <a:gd name="T22" fmla="*/ 2147483647 w 969"/>
                <a:gd name="T23" fmla="*/ 2147483647 h 928"/>
                <a:gd name="T24" fmla="*/ 2147483647 w 969"/>
                <a:gd name="T25" fmla="*/ 2147483647 h 928"/>
                <a:gd name="T26" fmla="*/ 2147483647 w 969"/>
                <a:gd name="T27" fmla="*/ 2147483647 h 928"/>
                <a:gd name="T28" fmla="*/ 2147483647 w 969"/>
                <a:gd name="T29" fmla="*/ 2147483647 h 928"/>
                <a:gd name="T30" fmla="*/ 2147483647 w 969"/>
                <a:gd name="T31" fmla="*/ 2147483647 h 928"/>
                <a:gd name="T32" fmla="*/ 2147483647 w 969"/>
                <a:gd name="T33" fmla="*/ 2147483647 h 928"/>
                <a:gd name="T34" fmla="*/ 0 w 969"/>
                <a:gd name="T35" fmla="*/ 2147483647 h 928"/>
                <a:gd name="T36" fmla="*/ 2147483647 w 969"/>
                <a:gd name="T37" fmla="*/ 2147483647 h 928"/>
                <a:gd name="T38" fmla="*/ 2147483647 w 969"/>
                <a:gd name="T39" fmla="*/ 2147483647 h 928"/>
                <a:gd name="T40" fmla="*/ 2147483647 w 969"/>
                <a:gd name="T41" fmla="*/ 2147483647 h 928"/>
                <a:gd name="T42" fmla="*/ 2147483647 w 969"/>
                <a:gd name="T43" fmla="*/ 2147483647 h 928"/>
                <a:gd name="T44" fmla="*/ 2147483647 w 969"/>
                <a:gd name="T45" fmla="*/ 2147483647 h 928"/>
                <a:gd name="T46" fmla="*/ 2147483647 w 969"/>
                <a:gd name="T47" fmla="*/ 2147483647 h 928"/>
                <a:gd name="T48" fmla="*/ 2147483647 w 969"/>
                <a:gd name="T49" fmla="*/ 2147483647 h 928"/>
                <a:gd name="T50" fmla="*/ 2147483647 w 969"/>
                <a:gd name="T51" fmla="*/ 2147483647 h 928"/>
                <a:gd name="T52" fmla="*/ 2147483647 w 969"/>
                <a:gd name="T53" fmla="*/ 2147483647 h 928"/>
                <a:gd name="T54" fmla="*/ 2147483647 w 969"/>
                <a:gd name="T55" fmla="*/ 2147483647 h 928"/>
                <a:gd name="T56" fmla="*/ 2147483647 w 969"/>
                <a:gd name="T57" fmla="*/ 2147483647 h 928"/>
                <a:gd name="T58" fmla="*/ 2147483647 w 969"/>
                <a:gd name="T59" fmla="*/ 2147483647 h 928"/>
                <a:gd name="T60" fmla="*/ 2147483647 w 969"/>
                <a:gd name="T61" fmla="*/ 2147483647 h 928"/>
                <a:gd name="T62" fmla="*/ 2147483647 w 969"/>
                <a:gd name="T63" fmla="*/ 2147483647 h 928"/>
                <a:gd name="T64" fmla="*/ 2147483647 w 969"/>
                <a:gd name="T65" fmla="*/ 2147483647 h 928"/>
                <a:gd name="T66" fmla="*/ 2147483647 w 969"/>
                <a:gd name="T67" fmla="*/ 2147483647 h 928"/>
                <a:gd name="T68" fmla="*/ 2147483647 w 969"/>
                <a:gd name="T69" fmla="*/ 2147483647 h 928"/>
                <a:gd name="T70" fmla="*/ 2147483647 w 969"/>
                <a:gd name="T71" fmla="*/ 2147483647 h 928"/>
                <a:gd name="T72" fmla="*/ 2147483647 w 969"/>
                <a:gd name="T73" fmla="*/ 2147483647 h 92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9"/>
                <a:gd name="T112" fmla="*/ 0 h 928"/>
                <a:gd name="T113" fmla="*/ 969 w 969"/>
                <a:gd name="T114" fmla="*/ 928 h 92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9" h="928">
                  <a:moveTo>
                    <a:pt x="935" y="104"/>
                  </a:moveTo>
                  <a:lnTo>
                    <a:pt x="910" y="96"/>
                  </a:lnTo>
                  <a:lnTo>
                    <a:pt x="893" y="56"/>
                  </a:lnTo>
                  <a:lnTo>
                    <a:pt x="910" y="40"/>
                  </a:lnTo>
                  <a:lnTo>
                    <a:pt x="867" y="16"/>
                  </a:lnTo>
                  <a:lnTo>
                    <a:pt x="825" y="0"/>
                  </a:lnTo>
                  <a:lnTo>
                    <a:pt x="766" y="32"/>
                  </a:lnTo>
                  <a:lnTo>
                    <a:pt x="733" y="32"/>
                  </a:lnTo>
                  <a:lnTo>
                    <a:pt x="724" y="72"/>
                  </a:lnTo>
                  <a:lnTo>
                    <a:pt x="691" y="72"/>
                  </a:lnTo>
                  <a:lnTo>
                    <a:pt x="632" y="96"/>
                  </a:lnTo>
                  <a:lnTo>
                    <a:pt x="615" y="160"/>
                  </a:lnTo>
                  <a:lnTo>
                    <a:pt x="623" y="192"/>
                  </a:lnTo>
                  <a:lnTo>
                    <a:pt x="573" y="176"/>
                  </a:lnTo>
                  <a:lnTo>
                    <a:pt x="530" y="200"/>
                  </a:lnTo>
                  <a:lnTo>
                    <a:pt x="505" y="184"/>
                  </a:lnTo>
                  <a:lnTo>
                    <a:pt x="480" y="216"/>
                  </a:lnTo>
                  <a:lnTo>
                    <a:pt x="446" y="200"/>
                  </a:lnTo>
                  <a:lnTo>
                    <a:pt x="412" y="200"/>
                  </a:lnTo>
                  <a:lnTo>
                    <a:pt x="387" y="224"/>
                  </a:lnTo>
                  <a:lnTo>
                    <a:pt x="353" y="200"/>
                  </a:lnTo>
                  <a:lnTo>
                    <a:pt x="294" y="208"/>
                  </a:lnTo>
                  <a:lnTo>
                    <a:pt x="202" y="216"/>
                  </a:lnTo>
                  <a:lnTo>
                    <a:pt x="143" y="224"/>
                  </a:lnTo>
                  <a:lnTo>
                    <a:pt x="101" y="248"/>
                  </a:lnTo>
                  <a:lnTo>
                    <a:pt x="84" y="272"/>
                  </a:lnTo>
                  <a:lnTo>
                    <a:pt x="50" y="272"/>
                  </a:lnTo>
                  <a:lnTo>
                    <a:pt x="75" y="304"/>
                  </a:lnTo>
                  <a:lnTo>
                    <a:pt x="109" y="368"/>
                  </a:lnTo>
                  <a:lnTo>
                    <a:pt x="118" y="408"/>
                  </a:lnTo>
                  <a:lnTo>
                    <a:pt x="84" y="416"/>
                  </a:lnTo>
                  <a:lnTo>
                    <a:pt x="33" y="512"/>
                  </a:lnTo>
                  <a:lnTo>
                    <a:pt x="50" y="584"/>
                  </a:lnTo>
                  <a:lnTo>
                    <a:pt x="16" y="592"/>
                  </a:lnTo>
                  <a:lnTo>
                    <a:pt x="8" y="632"/>
                  </a:lnTo>
                  <a:lnTo>
                    <a:pt x="0" y="680"/>
                  </a:lnTo>
                  <a:lnTo>
                    <a:pt x="16" y="672"/>
                  </a:lnTo>
                  <a:lnTo>
                    <a:pt x="50" y="696"/>
                  </a:lnTo>
                  <a:lnTo>
                    <a:pt x="75" y="720"/>
                  </a:lnTo>
                  <a:lnTo>
                    <a:pt x="109" y="696"/>
                  </a:lnTo>
                  <a:lnTo>
                    <a:pt x="143" y="704"/>
                  </a:lnTo>
                  <a:lnTo>
                    <a:pt x="177" y="704"/>
                  </a:lnTo>
                  <a:lnTo>
                    <a:pt x="227" y="696"/>
                  </a:lnTo>
                  <a:lnTo>
                    <a:pt x="261" y="712"/>
                  </a:lnTo>
                  <a:lnTo>
                    <a:pt x="286" y="688"/>
                  </a:lnTo>
                  <a:lnTo>
                    <a:pt x="362" y="664"/>
                  </a:lnTo>
                  <a:lnTo>
                    <a:pt x="396" y="616"/>
                  </a:lnTo>
                  <a:lnTo>
                    <a:pt x="404" y="616"/>
                  </a:lnTo>
                  <a:lnTo>
                    <a:pt x="412" y="608"/>
                  </a:lnTo>
                  <a:lnTo>
                    <a:pt x="463" y="600"/>
                  </a:lnTo>
                  <a:lnTo>
                    <a:pt x="488" y="576"/>
                  </a:lnTo>
                  <a:lnTo>
                    <a:pt x="556" y="600"/>
                  </a:lnTo>
                  <a:lnTo>
                    <a:pt x="615" y="600"/>
                  </a:lnTo>
                  <a:lnTo>
                    <a:pt x="640" y="648"/>
                  </a:lnTo>
                  <a:lnTo>
                    <a:pt x="691" y="664"/>
                  </a:lnTo>
                  <a:lnTo>
                    <a:pt x="707" y="696"/>
                  </a:lnTo>
                  <a:lnTo>
                    <a:pt x="741" y="728"/>
                  </a:lnTo>
                  <a:lnTo>
                    <a:pt x="758" y="760"/>
                  </a:lnTo>
                  <a:lnTo>
                    <a:pt x="682" y="776"/>
                  </a:lnTo>
                  <a:lnTo>
                    <a:pt x="657" y="800"/>
                  </a:lnTo>
                  <a:lnTo>
                    <a:pt x="674" y="824"/>
                  </a:lnTo>
                  <a:lnTo>
                    <a:pt x="657" y="888"/>
                  </a:lnTo>
                  <a:lnTo>
                    <a:pt x="640" y="912"/>
                  </a:lnTo>
                  <a:lnTo>
                    <a:pt x="674" y="928"/>
                  </a:lnTo>
                  <a:lnTo>
                    <a:pt x="724" y="904"/>
                  </a:lnTo>
                  <a:lnTo>
                    <a:pt x="766" y="904"/>
                  </a:lnTo>
                  <a:lnTo>
                    <a:pt x="766" y="872"/>
                  </a:lnTo>
                  <a:lnTo>
                    <a:pt x="808" y="768"/>
                  </a:lnTo>
                  <a:lnTo>
                    <a:pt x="834" y="736"/>
                  </a:lnTo>
                  <a:lnTo>
                    <a:pt x="867" y="704"/>
                  </a:lnTo>
                  <a:lnTo>
                    <a:pt x="918" y="680"/>
                  </a:lnTo>
                  <a:lnTo>
                    <a:pt x="969" y="688"/>
                  </a:lnTo>
                  <a:lnTo>
                    <a:pt x="969" y="104"/>
                  </a:lnTo>
                  <a:lnTo>
                    <a:pt x="935" y="10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09" name="Freeform 90"/>
            <p:cNvSpPr>
              <a:spLocks/>
            </p:cNvSpPr>
            <p:nvPr/>
          </p:nvSpPr>
          <p:spPr bwMode="auto">
            <a:xfrm>
              <a:off x="5942013" y="3006725"/>
              <a:ext cx="557213" cy="384175"/>
            </a:xfrm>
            <a:custGeom>
              <a:avLst/>
              <a:gdLst>
                <a:gd name="T0" fmla="*/ 2147483647 w 455"/>
                <a:gd name="T1" fmla="*/ 2147483647 h 320"/>
                <a:gd name="T2" fmla="*/ 2147483647 w 455"/>
                <a:gd name="T3" fmla="*/ 2147483647 h 320"/>
                <a:gd name="T4" fmla="*/ 2147483647 w 455"/>
                <a:gd name="T5" fmla="*/ 2147483647 h 320"/>
                <a:gd name="T6" fmla="*/ 2147483647 w 455"/>
                <a:gd name="T7" fmla="*/ 2147483647 h 320"/>
                <a:gd name="T8" fmla="*/ 2147483647 w 455"/>
                <a:gd name="T9" fmla="*/ 2147483647 h 320"/>
                <a:gd name="T10" fmla="*/ 2147483647 w 455"/>
                <a:gd name="T11" fmla="*/ 2147483647 h 320"/>
                <a:gd name="T12" fmla="*/ 2147483647 w 455"/>
                <a:gd name="T13" fmla="*/ 2147483647 h 320"/>
                <a:gd name="T14" fmla="*/ 2147483647 w 455"/>
                <a:gd name="T15" fmla="*/ 2147483647 h 320"/>
                <a:gd name="T16" fmla="*/ 2147483647 w 455"/>
                <a:gd name="T17" fmla="*/ 2147483647 h 320"/>
                <a:gd name="T18" fmla="*/ 2147483647 w 455"/>
                <a:gd name="T19" fmla="*/ 2147483647 h 320"/>
                <a:gd name="T20" fmla="*/ 2147483647 w 455"/>
                <a:gd name="T21" fmla="*/ 2147483647 h 320"/>
                <a:gd name="T22" fmla="*/ 2147483647 w 455"/>
                <a:gd name="T23" fmla="*/ 2147483647 h 320"/>
                <a:gd name="T24" fmla="*/ 2147483647 w 455"/>
                <a:gd name="T25" fmla="*/ 2147483647 h 320"/>
                <a:gd name="T26" fmla="*/ 2147483647 w 455"/>
                <a:gd name="T27" fmla="*/ 2147483647 h 320"/>
                <a:gd name="T28" fmla="*/ 2147483647 w 455"/>
                <a:gd name="T29" fmla="*/ 2147483647 h 320"/>
                <a:gd name="T30" fmla="*/ 2147483647 w 455"/>
                <a:gd name="T31" fmla="*/ 2147483647 h 320"/>
                <a:gd name="T32" fmla="*/ 2147483647 w 455"/>
                <a:gd name="T33" fmla="*/ 2147483647 h 320"/>
                <a:gd name="T34" fmla="*/ 2147483647 w 455"/>
                <a:gd name="T35" fmla="*/ 2147483647 h 320"/>
                <a:gd name="T36" fmla="*/ 2147483647 w 455"/>
                <a:gd name="T37" fmla="*/ 2147483647 h 320"/>
                <a:gd name="T38" fmla="*/ 2147483647 w 455"/>
                <a:gd name="T39" fmla="*/ 0 h 320"/>
                <a:gd name="T40" fmla="*/ 2147483647 w 455"/>
                <a:gd name="T41" fmla="*/ 2147483647 h 320"/>
                <a:gd name="T42" fmla="*/ 2147483647 w 455"/>
                <a:gd name="T43" fmla="*/ 2147483647 h 320"/>
                <a:gd name="T44" fmla="*/ 2147483647 w 455"/>
                <a:gd name="T45" fmla="*/ 2147483647 h 320"/>
                <a:gd name="T46" fmla="*/ 2147483647 w 455"/>
                <a:gd name="T47" fmla="*/ 2147483647 h 320"/>
                <a:gd name="T48" fmla="*/ 2147483647 w 455"/>
                <a:gd name="T49" fmla="*/ 2147483647 h 320"/>
                <a:gd name="T50" fmla="*/ 0 w 455"/>
                <a:gd name="T51" fmla="*/ 2147483647 h 320"/>
                <a:gd name="T52" fmla="*/ 2147483647 w 455"/>
                <a:gd name="T53" fmla="*/ 2147483647 h 320"/>
                <a:gd name="T54" fmla="*/ 2147483647 w 455"/>
                <a:gd name="T55" fmla="*/ 2147483647 h 320"/>
                <a:gd name="T56" fmla="*/ 2147483647 w 455"/>
                <a:gd name="T57" fmla="*/ 2147483647 h 320"/>
                <a:gd name="T58" fmla="*/ 2147483647 w 455"/>
                <a:gd name="T59" fmla="*/ 2147483647 h 320"/>
                <a:gd name="T60" fmla="*/ 2147483647 w 455"/>
                <a:gd name="T61" fmla="*/ 2147483647 h 320"/>
                <a:gd name="T62" fmla="*/ 2147483647 w 455"/>
                <a:gd name="T63" fmla="*/ 2147483647 h 320"/>
                <a:gd name="T64" fmla="*/ 2147483647 w 455"/>
                <a:gd name="T65" fmla="*/ 2147483647 h 320"/>
                <a:gd name="T66" fmla="*/ 2147483647 w 455"/>
                <a:gd name="T67" fmla="*/ 2147483647 h 320"/>
                <a:gd name="T68" fmla="*/ 2147483647 w 455"/>
                <a:gd name="T69" fmla="*/ 2147483647 h 320"/>
                <a:gd name="T70" fmla="*/ 2147483647 w 455"/>
                <a:gd name="T71" fmla="*/ 2147483647 h 320"/>
                <a:gd name="T72" fmla="*/ 2147483647 w 455"/>
                <a:gd name="T73" fmla="*/ 2147483647 h 320"/>
                <a:gd name="T74" fmla="*/ 2147483647 w 455"/>
                <a:gd name="T75" fmla="*/ 2147483647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5"/>
                <a:gd name="T115" fmla="*/ 0 h 320"/>
                <a:gd name="T116" fmla="*/ 455 w 455"/>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5" h="320">
                  <a:moveTo>
                    <a:pt x="312" y="304"/>
                  </a:moveTo>
                  <a:lnTo>
                    <a:pt x="328" y="296"/>
                  </a:lnTo>
                  <a:lnTo>
                    <a:pt x="320" y="272"/>
                  </a:lnTo>
                  <a:lnTo>
                    <a:pt x="354" y="264"/>
                  </a:lnTo>
                  <a:lnTo>
                    <a:pt x="379" y="248"/>
                  </a:lnTo>
                  <a:lnTo>
                    <a:pt x="404" y="256"/>
                  </a:lnTo>
                  <a:lnTo>
                    <a:pt x="387" y="224"/>
                  </a:lnTo>
                  <a:lnTo>
                    <a:pt x="387" y="192"/>
                  </a:lnTo>
                  <a:lnTo>
                    <a:pt x="387" y="160"/>
                  </a:lnTo>
                  <a:lnTo>
                    <a:pt x="413" y="152"/>
                  </a:lnTo>
                  <a:lnTo>
                    <a:pt x="421" y="128"/>
                  </a:lnTo>
                  <a:lnTo>
                    <a:pt x="446" y="120"/>
                  </a:lnTo>
                  <a:lnTo>
                    <a:pt x="455" y="104"/>
                  </a:lnTo>
                  <a:lnTo>
                    <a:pt x="430" y="96"/>
                  </a:lnTo>
                  <a:lnTo>
                    <a:pt x="430" y="64"/>
                  </a:lnTo>
                  <a:lnTo>
                    <a:pt x="396" y="56"/>
                  </a:lnTo>
                  <a:lnTo>
                    <a:pt x="371" y="40"/>
                  </a:lnTo>
                  <a:lnTo>
                    <a:pt x="337" y="24"/>
                  </a:lnTo>
                  <a:lnTo>
                    <a:pt x="286" y="16"/>
                  </a:lnTo>
                  <a:lnTo>
                    <a:pt x="278" y="0"/>
                  </a:lnTo>
                  <a:lnTo>
                    <a:pt x="227" y="32"/>
                  </a:lnTo>
                  <a:lnTo>
                    <a:pt x="185" y="24"/>
                  </a:lnTo>
                  <a:lnTo>
                    <a:pt x="143" y="32"/>
                  </a:lnTo>
                  <a:lnTo>
                    <a:pt x="84" y="32"/>
                  </a:lnTo>
                  <a:lnTo>
                    <a:pt x="25" y="64"/>
                  </a:lnTo>
                  <a:lnTo>
                    <a:pt x="0" y="88"/>
                  </a:lnTo>
                  <a:lnTo>
                    <a:pt x="8" y="104"/>
                  </a:lnTo>
                  <a:lnTo>
                    <a:pt x="25" y="168"/>
                  </a:lnTo>
                  <a:lnTo>
                    <a:pt x="34" y="184"/>
                  </a:lnTo>
                  <a:lnTo>
                    <a:pt x="67" y="192"/>
                  </a:lnTo>
                  <a:lnTo>
                    <a:pt x="126" y="192"/>
                  </a:lnTo>
                  <a:lnTo>
                    <a:pt x="151" y="200"/>
                  </a:lnTo>
                  <a:lnTo>
                    <a:pt x="168" y="272"/>
                  </a:lnTo>
                  <a:lnTo>
                    <a:pt x="177" y="272"/>
                  </a:lnTo>
                  <a:lnTo>
                    <a:pt x="236" y="296"/>
                  </a:lnTo>
                  <a:lnTo>
                    <a:pt x="244" y="320"/>
                  </a:lnTo>
                  <a:lnTo>
                    <a:pt x="278" y="296"/>
                  </a:lnTo>
                  <a:lnTo>
                    <a:pt x="312" y="304"/>
                  </a:lnTo>
                  <a:close/>
                </a:path>
              </a:pathLst>
            </a:custGeom>
            <a:solidFill>
              <a:schemeClr val="bg1"/>
            </a:solidFill>
            <a:ln w="12700">
              <a:solidFill>
                <a:srgbClr val="000000"/>
              </a:solidFill>
              <a:round/>
              <a:headEnd/>
              <a:tailEnd/>
            </a:ln>
          </p:spPr>
          <p:txBody>
            <a:bodyPr/>
            <a:lstStyle/>
            <a:p>
              <a:endParaRPr lang="en-US"/>
            </a:p>
          </p:txBody>
        </p:sp>
        <p:sp>
          <p:nvSpPr>
            <p:cNvPr id="34910" name="Freeform 91"/>
            <p:cNvSpPr>
              <a:spLocks/>
            </p:cNvSpPr>
            <p:nvPr/>
          </p:nvSpPr>
          <p:spPr bwMode="auto">
            <a:xfrm>
              <a:off x="6251575" y="3371850"/>
              <a:ext cx="1185863" cy="1111250"/>
            </a:xfrm>
            <a:custGeom>
              <a:avLst/>
              <a:gdLst>
                <a:gd name="T0" fmla="*/ 2147483647 w 969"/>
                <a:gd name="T1" fmla="*/ 2147483647 h 928"/>
                <a:gd name="T2" fmla="*/ 2147483647 w 969"/>
                <a:gd name="T3" fmla="*/ 2147483647 h 928"/>
                <a:gd name="T4" fmla="*/ 2147483647 w 969"/>
                <a:gd name="T5" fmla="*/ 0 h 928"/>
                <a:gd name="T6" fmla="*/ 2147483647 w 969"/>
                <a:gd name="T7" fmla="*/ 2147483647 h 928"/>
                <a:gd name="T8" fmla="*/ 2147483647 w 969"/>
                <a:gd name="T9" fmla="*/ 2147483647 h 928"/>
                <a:gd name="T10" fmla="*/ 2147483647 w 969"/>
                <a:gd name="T11" fmla="*/ 2147483647 h 928"/>
                <a:gd name="T12" fmla="*/ 2147483647 w 969"/>
                <a:gd name="T13" fmla="*/ 2147483647 h 928"/>
                <a:gd name="T14" fmla="*/ 2147483647 w 969"/>
                <a:gd name="T15" fmla="*/ 2147483647 h 928"/>
                <a:gd name="T16" fmla="*/ 2147483647 w 969"/>
                <a:gd name="T17" fmla="*/ 2147483647 h 928"/>
                <a:gd name="T18" fmla="*/ 2147483647 w 969"/>
                <a:gd name="T19" fmla="*/ 2147483647 h 928"/>
                <a:gd name="T20" fmla="*/ 2147483647 w 969"/>
                <a:gd name="T21" fmla="*/ 2147483647 h 928"/>
                <a:gd name="T22" fmla="*/ 2147483647 w 969"/>
                <a:gd name="T23" fmla="*/ 2147483647 h 928"/>
                <a:gd name="T24" fmla="*/ 2147483647 w 969"/>
                <a:gd name="T25" fmla="*/ 2147483647 h 928"/>
                <a:gd name="T26" fmla="*/ 2147483647 w 969"/>
                <a:gd name="T27" fmla="*/ 2147483647 h 928"/>
                <a:gd name="T28" fmla="*/ 2147483647 w 969"/>
                <a:gd name="T29" fmla="*/ 2147483647 h 928"/>
                <a:gd name="T30" fmla="*/ 2147483647 w 969"/>
                <a:gd name="T31" fmla="*/ 2147483647 h 928"/>
                <a:gd name="T32" fmla="*/ 2147483647 w 969"/>
                <a:gd name="T33" fmla="*/ 2147483647 h 928"/>
                <a:gd name="T34" fmla="*/ 0 w 969"/>
                <a:gd name="T35" fmla="*/ 2147483647 h 928"/>
                <a:gd name="T36" fmla="*/ 2147483647 w 969"/>
                <a:gd name="T37" fmla="*/ 2147483647 h 928"/>
                <a:gd name="T38" fmla="*/ 2147483647 w 969"/>
                <a:gd name="T39" fmla="*/ 2147483647 h 928"/>
                <a:gd name="T40" fmla="*/ 2147483647 w 969"/>
                <a:gd name="T41" fmla="*/ 2147483647 h 928"/>
                <a:gd name="T42" fmla="*/ 2147483647 w 969"/>
                <a:gd name="T43" fmla="*/ 2147483647 h 928"/>
                <a:gd name="T44" fmla="*/ 2147483647 w 969"/>
                <a:gd name="T45" fmla="*/ 2147483647 h 928"/>
                <a:gd name="T46" fmla="*/ 2147483647 w 969"/>
                <a:gd name="T47" fmla="*/ 2147483647 h 928"/>
                <a:gd name="T48" fmla="*/ 2147483647 w 969"/>
                <a:gd name="T49" fmla="*/ 2147483647 h 928"/>
                <a:gd name="T50" fmla="*/ 2147483647 w 969"/>
                <a:gd name="T51" fmla="*/ 2147483647 h 928"/>
                <a:gd name="T52" fmla="*/ 2147483647 w 969"/>
                <a:gd name="T53" fmla="*/ 2147483647 h 928"/>
                <a:gd name="T54" fmla="*/ 2147483647 w 969"/>
                <a:gd name="T55" fmla="*/ 2147483647 h 928"/>
                <a:gd name="T56" fmla="*/ 2147483647 w 969"/>
                <a:gd name="T57" fmla="*/ 2147483647 h 928"/>
                <a:gd name="T58" fmla="*/ 2147483647 w 969"/>
                <a:gd name="T59" fmla="*/ 2147483647 h 928"/>
                <a:gd name="T60" fmla="*/ 2147483647 w 969"/>
                <a:gd name="T61" fmla="*/ 2147483647 h 928"/>
                <a:gd name="T62" fmla="*/ 2147483647 w 969"/>
                <a:gd name="T63" fmla="*/ 2147483647 h 928"/>
                <a:gd name="T64" fmla="*/ 2147483647 w 969"/>
                <a:gd name="T65" fmla="*/ 2147483647 h 928"/>
                <a:gd name="T66" fmla="*/ 2147483647 w 969"/>
                <a:gd name="T67" fmla="*/ 2147483647 h 928"/>
                <a:gd name="T68" fmla="*/ 2147483647 w 969"/>
                <a:gd name="T69" fmla="*/ 2147483647 h 928"/>
                <a:gd name="T70" fmla="*/ 2147483647 w 969"/>
                <a:gd name="T71" fmla="*/ 2147483647 h 928"/>
                <a:gd name="T72" fmla="*/ 2147483647 w 969"/>
                <a:gd name="T73" fmla="*/ 2147483647 h 92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9"/>
                <a:gd name="T112" fmla="*/ 0 h 928"/>
                <a:gd name="T113" fmla="*/ 969 w 969"/>
                <a:gd name="T114" fmla="*/ 928 h 92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9" h="928">
                  <a:moveTo>
                    <a:pt x="935" y="104"/>
                  </a:moveTo>
                  <a:lnTo>
                    <a:pt x="910" y="96"/>
                  </a:lnTo>
                  <a:lnTo>
                    <a:pt x="893" y="56"/>
                  </a:lnTo>
                  <a:lnTo>
                    <a:pt x="910" y="40"/>
                  </a:lnTo>
                  <a:lnTo>
                    <a:pt x="867" y="16"/>
                  </a:lnTo>
                  <a:lnTo>
                    <a:pt x="825" y="0"/>
                  </a:lnTo>
                  <a:lnTo>
                    <a:pt x="766" y="32"/>
                  </a:lnTo>
                  <a:lnTo>
                    <a:pt x="733" y="32"/>
                  </a:lnTo>
                  <a:lnTo>
                    <a:pt x="724" y="72"/>
                  </a:lnTo>
                  <a:lnTo>
                    <a:pt x="691" y="72"/>
                  </a:lnTo>
                  <a:lnTo>
                    <a:pt x="632" y="96"/>
                  </a:lnTo>
                  <a:lnTo>
                    <a:pt x="615" y="160"/>
                  </a:lnTo>
                  <a:lnTo>
                    <a:pt x="623" y="192"/>
                  </a:lnTo>
                  <a:lnTo>
                    <a:pt x="573" y="176"/>
                  </a:lnTo>
                  <a:lnTo>
                    <a:pt x="530" y="200"/>
                  </a:lnTo>
                  <a:lnTo>
                    <a:pt x="505" y="184"/>
                  </a:lnTo>
                  <a:lnTo>
                    <a:pt x="480" y="216"/>
                  </a:lnTo>
                  <a:lnTo>
                    <a:pt x="446" y="200"/>
                  </a:lnTo>
                  <a:lnTo>
                    <a:pt x="412" y="200"/>
                  </a:lnTo>
                  <a:lnTo>
                    <a:pt x="387" y="224"/>
                  </a:lnTo>
                  <a:lnTo>
                    <a:pt x="353" y="200"/>
                  </a:lnTo>
                  <a:lnTo>
                    <a:pt x="294" y="208"/>
                  </a:lnTo>
                  <a:lnTo>
                    <a:pt x="202" y="216"/>
                  </a:lnTo>
                  <a:lnTo>
                    <a:pt x="143" y="224"/>
                  </a:lnTo>
                  <a:lnTo>
                    <a:pt x="101" y="248"/>
                  </a:lnTo>
                  <a:lnTo>
                    <a:pt x="84" y="272"/>
                  </a:lnTo>
                  <a:lnTo>
                    <a:pt x="50" y="272"/>
                  </a:lnTo>
                  <a:lnTo>
                    <a:pt x="75" y="304"/>
                  </a:lnTo>
                  <a:lnTo>
                    <a:pt x="109" y="368"/>
                  </a:lnTo>
                  <a:lnTo>
                    <a:pt x="118" y="408"/>
                  </a:lnTo>
                  <a:lnTo>
                    <a:pt x="84" y="416"/>
                  </a:lnTo>
                  <a:lnTo>
                    <a:pt x="33" y="512"/>
                  </a:lnTo>
                  <a:lnTo>
                    <a:pt x="50" y="584"/>
                  </a:lnTo>
                  <a:lnTo>
                    <a:pt x="16" y="592"/>
                  </a:lnTo>
                  <a:lnTo>
                    <a:pt x="8" y="632"/>
                  </a:lnTo>
                  <a:lnTo>
                    <a:pt x="0" y="680"/>
                  </a:lnTo>
                  <a:lnTo>
                    <a:pt x="16" y="672"/>
                  </a:lnTo>
                  <a:lnTo>
                    <a:pt x="50" y="696"/>
                  </a:lnTo>
                  <a:lnTo>
                    <a:pt x="75" y="720"/>
                  </a:lnTo>
                  <a:lnTo>
                    <a:pt x="109" y="696"/>
                  </a:lnTo>
                  <a:lnTo>
                    <a:pt x="143" y="704"/>
                  </a:lnTo>
                  <a:lnTo>
                    <a:pt x="177" y="704"/>
                  </a:lnTo>
                  <a:lnTo>
                    <a:pt x="227" y="696"/>
                  </a:lnTo>
                  <a:lnTo>
                    <a:pt x="261" y="712"/>
                  </a:lnTo>
                  <a:lnTo>
                    <a:pt x="286" y="688"/>
                  </a:lnTo>
                  <a:lnTo>
                    <a:pt x="362" y="664"/>
                  </a:lnTo>
                  <a:lnTo>
                    <a:pt x="396" y="616"/>
                  </a:lnTo>
                  <a:lnTo>
                    <a:pt x="404" y="616"/>
                  </a:lnTo>
                  <a:lnTo>
                    <a:pt x="412" y="608"/>
                  </a:lnTo>
                  <a:lnTo>
                    <a:pt x="463" y="600"/>
                  </a:lnTo>
                  <a:lnTo>
                    <a:pt x="488" y="576"/>
                  </a:lnTo>
                  <a:lnTo>
                    <a:pt x="556" y="600"/>
                  </a:lnTo>
                  <a:lnTo>
                    <a:pt x="615" y="600"/>
                  </a:lnTo>
                  <a:lnTo>
                    <a:pt x="640" y="648"/>
                  </a:lnTo>
                  <a:lnTo>
                    <a:pt x="691" y="664"/>
                  </a:lnTo>
                  <a:lnTo>
                    <a:pt x="707" y="696"/>
                  </a:lnTo>
                  <a:lnTo>
                    <a:pt x="741" y="728"/>
                  </a:lnTo>
                  <a:lnTo>
                    <a:pt x="758" y="760"/>
                  </a:lnTo>
                  <a:lnTo>
                    <a:pt x="682" y="776"/>
                  </a:lnTo>
                  <a:lnTo>
                    <a:pt x="657" y="800"/>
                  </a:lnTo>
                  <a:lnTo>
                    <a:pt x="674" y="824"/>
                  </a:lnTo>
                  <a:lnTo>
                    <a:pt x="657" y="888"/>
                  </a:lnTo>
                  <a:lnTo>
                    <a:pt x="640" y="912"/>
                  </a:lnTo>
                  <a:lnTo>
                    <a:pt x="674" y="928"/>
                  </a:lnTo>
                  <a:lnTo>
                    <a:pt x="724" y="904"/>
                  </a:lnTo>
                  <a:lnTo>
                    <a:pt x="766" y="904"/>
                  </a:lnTo>
                  <a:lnTo>
                    <a:pt x="766" y="872"/>
                  </a:lnTo>
                  <a:lnTo>
                    <a:pt x="808" y="768"/>
                  </a:lnTo>
                  <a:lnTo>
                    <a:pt x="834" y="736"/>
                  </a:lnTo>
                  <a:lnTo>
                    <a:pt x="867" y="704"/>
                  </a:lnTo>
                  <a:lnTo>
                    <a:pt x="918" y="680"/>
                  </a:lnTo>
                  <a:lnTo>
                    <a:pt x="969" y="688"/>
                  </a:lnTo>
                  <a:lnTo>
                    <a:pt x="969" y="104"/>
                  </a:lnTo>
                  <a:lnTo>
                    <a:pt x="935" y="104"/>
                  </a:lnTo>
                  <a:close/>
                </a:path>
              </a:pathLst>
            </a:custGeom>
            <a:solidFill>
              <a:schemeClr val="bg1"/>
            </a:solidFill>
            <a:ln w="12700">
              <a:solidFill>
                <a:srgbClr val="000000"/>
              </a:solidFill>
              <a:round/>
              <a:headEnd/>
              <a:tailEnd/>
            </a:ln>
          </p:spPr>
          <p:txBody>
            <a:bodyPr/>
            <a:lstStyle/>
            <a:p>
              <a:endParaRPr lang="en-US"/>
            </a:p>
          </p:txBody>
        </p:sp>
        <p:sp>
          <p:nvSpPr>
            <p:cNvPr id="34911" name="Freeform 92"/>
            <p:cNvSpPr>
              <a:spLocks/>
            </p:cNvSpPr>
            <p:nvPr/>
          </p:nvSpPr>
          <p:spPr bwMode="auto">
            <a:xfrm>
              <a:off x="6240463" y="2987675"/>
              <a:ext cx="887413" cy="719138"/>
            </a:xfrm>
            <a:custGeom>
              <a:avLst/>
              <a:gdLst>
                <a:gd name="T0" fmla="*/ 2147483647 w 725"/>
                <a:gd name="T1" fmla="*/ 2147483647 h 600"/>
                <a:gd name="T2" fmla="*/ 2147483647 w 725"/>
                <a:gd name="T3" fmla="*/ 2147483647 h 600"/>
                <a:gd name="T4" fmla="*/ 2147483647 w 725"/>
                <a:gd name="T5" fmla="*/ 2147483647 h 600"/>
                <a:gd name="T6" fmla="*/ 2147483647 w 725"/>
                <a:gd name="T7" fmla="*/ 2147483647 h 600"/>
                <a:gd name="T8" fmla="*/ 2147483647 w 725"/>
                <a:gd name="T9" fmla="*/ 2147483647 h 600"/>
                <a:gd name="T10" fmla="*/ 2147483647 w 725"/>
                <a:gd name="T11" fmla="*/ 2147483647 h 600"/>
                <a:gd name="T12" fmla="*/ 2147483647 w 725"/>
                <a:gd name="T13" fmla="*/ 2147483647 h 600"/>
                <a:gd name="T14" fmla="*/ 2147483647 w 725"/>
                <a:gd name="T15" fmla="*/ 2147483647 h 600"/>
                <a:gd name="T16" fmla="*/ 2147483647 w 725"/>
                <a:gd name="T17" fmla="*/ 2147483647 h 600"/>
                <a:gd name="T18" fmla="*/ 2147483647 w 725"/>
                <a:gd name="T19" fmla="*/ 2147483647 h 600"/>
                <a:gd name="T20" fmla="*/ 2147483647 w 725"/>
                <a:gd name="T21" fmla="*/ 2147483647 h 600"/>
                <a:gd name="T22" fmla="*/ 2147483647 w 725"/>
                <a:gd name="T23" fmla="*/ 0 h 600"/>
                <a:gd name="T24" fmla="*/ 2147483647 w 725"/>
                <a:gd name="T25" fmla="*/ 2147483647 h 600"/>
                <a:gd name="T26" fmla="*/ 2147483647 w 725"/>
                <a:gd name="T27" fmla="*/ 2147483647 h 600"/>
                <a:gd name="T28" fmla="*/ 2147483647 w 725"/>
                <a:gd name="T29" fmla="*/ 2147483647 h 600"/>
                <a:gd name="T30" fmla="*/ 2147483647 w 725"/>
                <a:gd name="T31" fmla="*/ 2147483647 h 600"/>
                <a:gd name="T32" fmla="*/ 2147483647 w 725"/>
                <a:gd name="T33" fmla="*/ 2147483647 h 600"/>
                <a:gd name="T34" fmla="*/ 2147483647 w 725"/>
                <a:gd name="T35" fmla="*/ 2147483647 h 600"/>
                <a:gd name="T36" fmla="*/ 2147483647 w 725"/>
                <a:gd name="T37" fmla="*/ 2147483647 h 600"/>
                <a:gd name="T38" fmla="*/ 2147483647 w 725"/>
                <a:gd name="T39" fmla="*/ 2147483647 h 600"/>
                <a:gd name="T40" fmla="*/ 2147483647 w 725"/>
                <a:gd name="T41" fmla="*/ 2147483647 h 600"/>
                <a:gd name="T42" fmla="*/ 0 w 725"/>
                <a:gd name="T43" fmla="*/ 2147483647 h 600"/>
                <a:gd name="T44" fmla="*/ 2147483647 w 725"/>
                <a:gd name="T45" fmla="*/ 2147483647 h 600"/>
                <a:gd name="T46" fmla="*/ 2147483647 w 725"/>
                <a:gd name="T47" fmla="*/ 2147483647 h 600"/>
                <a:gd name="T48" fmla="*/ 2147483647 w 725"/>
                <a:gd name="T49" fmla="*/ 2147483647 h 600"/>
                <a:gd name="T50" fmla="*/ 2147483647 w 725"/>
                <a:gd name="T51" fmla="*/ 2147483647 h 600"/>
                <a:gd name="T52" fmla="*/ 2147483647 w 725"/>
                <a:gd name="T53" fmla="*/ 2147483647 h 600"/>
                <a:gd name="T54" fmla="*/ 2147483647 w 725"/>
                <a:gd name="T55" fmla="*/ 2147483647 h 600"/>
                <a:gd name="T56" fmla="*/ 2147483647 w 725"/>
                <a:gd name="T57" fmla="*/ 2147483647 h 600"/>
                <a:gd name="T58" fmla="*/ 2147483647 w 725"/>
                <a:gd name="T59" fmla="*/ 2147483647 h 600"/>
                <a:gd name="T60" fmla="*/ 2147483647 w 725"/>
                <a:gd name="T61" fmla="*/ 2147483647 h 600"/>
                <a:gd name="T62" fmla="*/ 2147483647 w 725"/>
                <a:gd name="T63" fmla="*/ 2147483647 h 600"/>
                <a:gd name="T64" fmla="*/ 2147483647 w 725"/>
                <a:gd name="T65" fmla="*/ 2147483647 h 600"/>
                <a:gd name="T66" fmla="*/ 2147483647 w 725"/>
                <a:gd name="T67" fmla="*/ 2147483647 h 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25"/>
                <a:gd name="T103" fmla="*/ 0 h 600"/>
                <a:gd name="T104" fmla="*/ 725 w 725"/>
                <a:gd name="T105" fmla="*/ 600 h 6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25" h="600">
                  <a:moveTo>
                    <a:pt x="657" y="344"/>
                  </a:moveTo>
                  <a:lnTo>
                    <a:pt x="657" y="320"/>
                  </a:lnTo>
                  <a:lnTo>
                    <a:pt x="632" y="304"/>
                  </a:lnTo>
                  <a:lnTo>
                    <a:pt x="641" y="280"/>
                  </a:lnTo>
                  <a:lnTo>
                    <a:pt x="691" y="272"/>
                  </a:lnTo>
                  <a:lnTo>
                    <a:pt x="708" y="256"/>
                  </a:lnTo>
                  <a:lnTo>
                    <a:pt x="725" y="232"/>
                  </a:lnTo>
                  <a:lnTo>
                    <a:pt x="700" y="208"/>
                  </a:lnTo>
                  <a:lnTo>
                    <a:pt x="632" y="192"/>
                  </a:lnTo>
                  <a:lnTo>
                    <a:pt x="624" y="168"/>
                  </a:lnTo>
                  <a:lnTo>
                    <a:pt x="582" y="160"/>
                  </a:lnTo>
                  <a:lnTo>
                    <a:pt x="548" y="136"/>
                  </a:lnTo>
                  <a:lnTo>
                    <a:pt x="548" y="120"/>
                  </a:lnTo>
                  <a:lnTo>
                    <a:pt x="514" y="104"/>
                  </a:lnTo>
                  <a:lnTo>
                    <a:pt x="514" y="72"/>
                  </a:lnTo>
                  <a:lnTo>
                    <a:pt x="506" y="40"/>
                  </a:lnTo>
                  <a:lnTo>
                    <a:pt x="472" y="16"/>
                  </a:lnTo>
                  <a:lnTo>
                    <a:pt x="438" y="8"/>
                  </a:lnTo>
                  <a:lnTo>
                    <a:pt x="396" y="32"/>
                  </a:lnTo>
                  <a:lnTo>
                    <a:pt x="379" y="16"/>
                  </a:lnTo>
                  <a:lnTo>
                    <a:pt x="346" y="8"/>
                  </a:lnTo>
                  <a:lnTo>
                    <a:pt x="329" y="16"/>
                  </a:lnTo>
                  <a:lnTo>
                    <a:pt x="303" y="0"/>
                  </a:lnTo>
                  <a:lnTo>
                    <a:pt x="278" y="0"/>
                  </a:lnTo>
                  <a:lnTo>
                    <a:pt x="245" y="64"/>
                  </a:lnTo>
                  <a:lnTo>
                    <a:pt x="202" y="64"/>
                  </a:lnTo>
                  <a:lnTo>
                    <a:pt x="177" y="80"/>
                  </a:lnTo>
                  <a:lnTo>
                    <a:pt x="186" y="88"/>
                  </a:lnTo>
                  <a:lnTo>
                    <a:pt x="186" y="120"/>
                  </a:lnTo>
                  <a:lnTo>
                    <a:pt x="211" y="128"/>
                  </a:lnTo>
                  <a:lnTo>
                    <a:pt x="202" y="144"/>
                  </a:lnTo>
                  <a:lnTo>
                    <a:pt x="177" y="152"/>
                  </a:lnTo>
                  <a:lnTo>
                    <a:pt x="169" y="176"/>
                  </a:lnTo>
                  <a:lnTo>
                    <a:pt x="143" y="184"/>
                  </a:lnTo>
                  <a:lnTo>
                    <a:pt x="143" y="216"/>
                  </a:lnTo>
                  <a:lnTo>
                    <a:pt x="143" y="248"/>
                  </a:lnTo>
                  <a:lnTo>
                    <a:pt x="160" y="280"/>
                  </a:lnTo>
                  <a:lnTo>
                    <a:pt x="135" y="272"/>
                  </a:lnTo>
                  <a:lnTo>
                    <a:pt x="110" y="288"/>
                  </a:lnTo>
                  <a:lnTo>
                    <a:pt x="76" y="296"/>
                  </a:lnTo>
                  <a:lnTo>
                    <a:pt x="84" y="320"/>
                  </a:lnTo>
                  <a:lnTo>
                    <a:pt x="68" y="328"/>
                  </a:lnTo>
                  <a:lnTo>
                    <a:pt x="34" y="320"/>
                  </a:lnTo>
                  <a:lnTo>
                    <a:pt x="0" y="344"/>
                  </a:lnTo>
                  <a:lnTo>
                    <a:pt x="17" y="384"/>
                  </a:lnTo>
                  <a:lnTo>
                    <a:pt x="59" y="464"/>
                  </a:lnTo>
                  <a:lnTo>
                    <a:pt x="17" y="512"/>
                  </a:lnTo>
                  <a:lnTo>
                    <a:pt x="17" y="536"/>
                  </a:lnTo>
                  <a:lnTo>
                    <a:pt x="51" y="544"/>
                  </a:lnTo>
                  <a:lnTo>
                    <a:pt x="59" y="600"/>
                  </a:lnTo>
                  <a:lnTo>
                    <a:pt x="93" y="600"/>
                  </a:lnTo>
                  <a:lnTo>
                    <a:pt x="110" y="576"/>
                  </a:lnTo>
                  <a:lnTo>
                    <a:pt x="152" y="552"/>
                  </a:lnTo>
                  <a:lnTo>
                    <a:pt x="211" y="544"/>
                  </a:lnTo>
                  <a:lnTo>
                    <a:pt x="303" y="536"/>
                  </a:lnTo>
                  <a:lnTo>
                    <a:pt x="362" y="528"/>
                  </a:lnTo>
                  <a:lnTo>
                    <a:pt x="396" y="552"/>
                  </a:lnTo>
                  <a:lnTo>
                    <a:pt x="421" y="528"/>
                  </a:lnTo>
                  <a:lnTo>
                    <a:pt x="455" y="528"/>
                  </a:lnTo>
                  <a:lnTo>
                    <a:pt x="489" y="544"/>
                  </a:lnTo>
                  <a:lnTo>
                    <a:pt x="514" y="512"/>
                  </a:lnTo>
                  <a:lnTo>
                    <a:pt x="539" y="528"/>
                  </a:lnTo>
                  <a:lnTo>
                    <a:pt x="582" y="504"/>
                  </a:lnTo>
                  <a:lnTo>
                    <a:pt x="632" y="520"/>
                  </a:lnTo>
                  <a:lnTo>
                    <a:pt x="624" y="488"/>
                  </a:lnTo>
                  <a:lnTo>
                    <a:pt x="641" y="424"/>
                  </a:lnTo>
                  <a:lnTo>
                    <a:pt x="700" y="400"/>
                  </a:lnTo>
                  <a:lnTo>
                    <a:pt x="674" y="368"/>
                  </a:lnTo>
                  <a:lnTo>
                    <a:pt x="657" y="34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12" name="Freeform 93"/>
            <p:cNvSpPr>
              <a:spLocks/>
            </p:cNvSpPr>
            <p:nvPr/>
          </p:nvSpPr>
          <p:spPr bwMode="auto">
            <a:xfrm>
              <a:off x="5930900" y="2787650"/>
              <a:ext cx="649288" cy="334963"/>
            </a:xfrm>
            <a:custGeom>
              <a:avLst/>
              <a:gdLst>
                <a:gd name="T0" fmla="*/ 2147483647 w 531"/>
                <a:gd name="T1" fmla="*/ 2147483647 h 280"/>
                <a:gd name="T2" fmla="*/ 2147483647 w 531"/>
                <a:gd name="T3" fmla="*/ 2147483647 h 280"/>
                <a:gd name="T4" fmla="*/ 2147483647 w 531"/>
                <a:gd name="T5" fmla="*/ 2147483647 h 280"/>
                <a:gd name="T6" fmla="*/ 2147483647 w 531"/>
                <a:gd name="T7" fmla="*/ 2147483647 h 280"/>
                <a:gd name="T8" fmla="*/ 2147483647 w 531"/>
                <a:gd name="T9" fmla="*/ 0 h 280"/>
                <a:gd name="T10" fmla="*/ 2147483647 w 531"/>
                <a:gd name="T11" fmla="*/ 0 h 280"/>
                <a:gd name="T12" fmla="*/ 2147483647 w 531"/>
                <a:gd name="T13" fmla="*/ 2147483647 h 280"/>
                <a:gd name="T14" fmla="*/ 2147483647 w 531"/>
                <a:gd name="T15" fmla="*/ 2147483647 h 280"/>
                <a:gd name="T16" fmla="*/ 2147483647 w 531"/>
                <a:gd name="T17" fmla="*/ 2147483647 h 280"/>
                <a:gd name="T18" fmla="*/ 2147483647 w 531"/>
                <a:gd name="T19" fmla="*/ 2147483647 h 280"/>
                <a:gd name="T20" fmla="*/ 2147483647 w 531"/>
                <a:gd name="T21" fmla="*/ 2147483647 h 280"/>
                <a:gd name="T22" fmla="*/ 2147483647 w 531"/>
                <a:gd name="T23" fmla="*/ 2147483647 h 280"/>
                <a:gd name="T24" fmla="*/ 2147483647 w 531"/>
                <a:gd name="T25" fmla="*/ 2147483647 h 280"/>
                <a:gd name="T26" fmla="*/ 2147483647 w 531"/>
                <a:gd name="T27" fmla="*/ 2147483647 h 280"/>
                <a:gd name="T28" fmla="*/ 2147483647 w 531"/>
                <a:gd name="T29" fmla="*/ 2147483647 h 280"/>
                <a:gd name="T30" fmla="*/ 2147483647 w 531"/>
                <a:gd name="T31" fmla="*/ 2147483647 h 280"/>
                <a:gd name="T32" fmla="*/ 2147483647 w 531"/>
                <a:gd name="T33" fmla="*/ 2147483647 h 280"/>
                <a:gd name="T34" fmla="*/ 0 w 531"/>
                <a:gd name="T35" fmla="*/ 2147483647 h 280"/>
                <a:gd name="T36" fmla="*/ 0 w 531"/>
                <a:gd name="T37" fmla="*/ 2147483647 h 280"/>
                <a:gd name="T38" fmla="*/ 2147483647 w 531"/>
                <a:gd name="T39" fmla="*/ 2147483647 h 280"/>
                <a:gd name="T40" fmla="*/ 2147483647 w 531"/>
                <a:gd name="T41" fmla="*/ 2147483647 h 280"/>
                <a:gd name="T42" fmla="*/ 2147483647 w 531"/>
                <a:gd name="T43" fmla="*/ 2147483647 h 280"/>
                <a:gd name="T44" fmla="*/ 2147483647 w 531"/>
                <a:gd name="T45" fmla="*/ 2147483647 h 280"/>
                <a:gd name="T46" fmla="*/ 2147483647 w 531"/>
                <a:gd name="T47" fmla="*/ 2147483647 h 280"/>
                <a:gd name="T48" fmla="*/ 2147483647 w 531"/>
                <a:gd name="T49" fmla="*/ 2147483647 h 280"/>
                <a:gd name="T50" fmla="*/ 2147483647 w 531"/>
                <a:gd name="T51" fmla="*/ 2147483647 h 280"/>
                <a:gd name="T52" fmla="*/ 2147483647 w 531"/>
                <a:gd name="T53" fmla="*/ 2147483647 h 280"/>
                <a:gd name="T54" fmla="*/ 2147483647 w 531"/>
                <a:gd name="T55" fmla="*/ 2147483647 h 280"/>
                <a:gd name="T56" fmla="*/ 2147483647 w 531"/>
                <a:gd name="T57" fmla="*/ 2147483647 h 280"/>
                <a:gd name="T58" fmla="*/ 2147483647 w 531"/>
                <a:gd name="T59" fmla="*/ 2147483647 h 280"/>
                <a:gd name="T60" fmla="*/ 2147483647 w 531"/>
                <a:gd name="T61" fmla="*/ 2147483647 h 280"/>
                <a:gd name="T62" fmla="*/ 2147483647 w 531"/>
                <a:gd name="T63" fmla="*/ 2147483647 h 280"/>
                <a:gd name="T64" fmla="*/ 2147483647 w 531"/>
                <a:gd name="T65" fmla="*/ 2147483647 h 280"/>
                <a:gd name="T66" fmla="*/ 2147483647 w 531"/>
                <a:gd name="T67" fmla="*/ 2147483647 h 280"/>
                <a:gd name="T68" fmla="*/ 2147483647 w 531"/>
                <a:gd name="T69" fmla="*/ 2147483647 h 280"/>
                <a:gd name="T70" fmla="*/ 2147483647 w 531"/>
                <a:gd name="T71" fmla="*/ 2147483647 h 2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1"/>
                <a:gd name="T109" fmla="*/ 0 h 280"/>
                <a:gd name="T110" fmla="*/ 531 w 531"/>
                <a:gd name="T111" fmla="*/ 280 h 2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1" h="280">
                  <a:moveTo>
                    <a:pt x="472" y="80"/>
                  </a:moveTo>
                  <a:lnTo>
                    <a:pt x="464" y="40"/>
                  </a:lnTo>
                  <a:lnTo>
                    <a:pt x="413" y="32"/>
                  </a:lnTo>
                  <a:lnTo>
                    <a:pt x="371" y="40"/>
                  </a:lnTo>
                  <a:lnTo>
                    <a:pt x="304" y="0"/>
                  </a:lnTo>
                  <a:lnTo>
                    <a:pt x="262" y="0"/>
                  </a:lnTo>
                  <a:lnTo>
                    <a:pt x="211" y="32"/>
                  </a:lnTo>
                  <a:lnTo>
                    <a:pt x="211" y="40"/>
                  </a:lnTo>
                  <a:lnTo>
                    <a:pt x="219" y="72"/>
                  </a:lnTo>
                  <a:lnTo>
                    <a:pt x="219" y="104"/>
                  </a:lnTo>
                  <a:lnTo>
                    <a:pt x="211" y="128"/>
                  </a:lnTo>
                  <a:lnTo>
                    <a:pt x="194" y="128"/>
                  </a:lnTo>
                  <a:lnTo>
                    <a:pt x="160" y="128"/>
                  </a:lnTo>
                  <a:lnTo>
                    <a:pt x="110" y="80"/>
                  </a:lnTo>
                  <a:lnTo>
                    <a:pt x="76" y="64"/>
                  </a:lnTo>
                  <a:lnTo>
                    <a:pt x="43" y="88"/>
                  </a:lnTo>
                  <a:lnTo>
                    <a:pt x="17" y="160"/>
                  </a:lnTo>
                  <a:lnTo>
                    <a:pt x="0" y="192"/>
                  </a:lnTo>
                  <a:lnTo>
                    <a:pt x="0" y="224"/>
                  </a:lnTo>
                  <a:lnTo>
                    <a:pt x="9" y="280"/>
                  </a:lnTo>
                  <a:lnTo>
                    <a:pt x="34" y="256"/>
                  </a:lnTo>
                  <a:lnTo>
                    <a:pt x="93" y="224"/>
                  </a:lnTo>
                  <a:lnTo>
                    <a:pt x="152" y="224"/>
                  </a:lnTo>
                  <a:lnTo>
                    <a:pt x="194" y="216"/>
                  </a:lnTo>
                  <a:lnTo>
                    <a:pt x="236" y="224"/>
                  </a:lnTo>
                  <a:lnTo>
                    <a:pt x="287" y="192"/>
                  </a:lnTo>
                  <a:lnTo>
                    <a:pt x="295" y="208"/>
                  </a:lnTo>
                  <a:lnTo>
                    <a:pt x="346" y="216"/>
                  </a:lnTo>
                  <a:lnTo>
                    <a:pt x="380" y="232"/>
                  </a:lnTo>
                  <a:lnTo>
                    <a:pt x="405" y="248"/>
                  </a:lnTo>
                  <a:lnTo>
                    <a:pt x="430" y="248"/>
                  </a:lnTo>
                  <a:lnTo>
                    <a:pt x="455" y="232"/>
                  </a:lnTo>
                  <a:lnTo>
                    <a:pt x="498" y="232"/>
                  </a:lnTo>
                  <a:lnTo>
                    <a:pt x="531" y="176"/>
                  </a:lnTo>
                  <a:lnTo>
                    <a:pt x="506" y="112"/>
                  </a:lnTo>
                  <a:lnTo>
                    <a:pt x="472" y="8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13" name="Freeform 94"/>
            <p:cNvSpPr>
              <a:spLocks/>
            </p:cNvSpPr>
            <p:nvPr/>
          </p:nvSpPr>
          <p:spPr bwMode="auto">
            <a:xfrm>
              <a:off x="6240463" y="2978150"/>
              <a:ext cx="887413" cy="719138"/>
            </a:xfrm>
            <a:custGeom>
              <a:avLst/>
              <a:gdLst>
                <a:gd name="T0" fmla="*/ 2147483647 w 725"/>
                <a:gd name="T1" fmla="*/ 2147483647 h 600"/>
                <a:gd name="T2" fmla="*/ 2147483647 w 725"/>
                <a:gd name="T3" fmla="*/ 2147483647 h 600"/>
                <a:gd name="T4" fmla="*/ 2147483647 w 725"/>
                <a:gd name="T5" fmla="*/ 2147483647 h 600"/>
                <a:gd name="T6" fmla="*/ 2147483647 w 725"/>
                <a:gd name="T7" fmla="*/ 2147483647 h 600"/>
                <a:gd name="T8" fmla="*/ 2147483647 w 725"/>
                <a:gd name="T9" fmla="*/ 2147483647 h 600"/>
                <a:gd name="T10" fmla="*/ 2147483647 w 725"/>
                <a:gd name="T11" fmla="*/ 2147483647 h 600"/>
                <a:gd name="T12" fmla="*/ 2147483647 w 725"/>
                <a:gd name="T13" fmla="*/ 2147483647 h 600"/>
                <a:gd name="T14" fmla="*/ 2147483647 w 725"/>
                <a:gd name="T15" fmla="*/ 2147483647 h 600"/>
                <a:gd name="T16" fmla="*/ 2147483647 w 725"/>
                <a:gd name="T17" fmla="*/ 2147483647 h 600"/>
                <a:gd name="T18" fmla="*/ 2147483647 w 725"/>
                <a:gd name="T19" fmla="*/ 2147483647 h 600"/>
                <a:gd name="T20" fmla="*/ 2147483647 w 725"/>
                <a:gd name="T21" fmla="*/ 2147483647 h 600"/>
                <a:gd name="T22" fmla="*/ 2147483647 w 725"/>
                <a:gd name="T23" fmla="*/ 0 h 600"/>
                <a:gd name="T24" fmla="*/ 2147483647 w 725"/>
                <a:gd name="T25" fmla="*/ 2147483647 h 600"/>
                <a:gd name="T26" fmla="*/ 2147483647 w 725"/>
                <a:gd name="T27" fmla="*/ 2147483647 h 600"/>
                <a:gd name="T28" fmla="*/ 2147483647 w 725"/>
                <a:gd name="T29" fmla="*/ 2147483647 h 600"/>
                <a:gd name="T30" fmla="*/ 2147483647 w 725"/>
                <a:gd name="T31" fmla="*/ 2147483647 h 600"/>
                <a:gd name="T32" fmla="*/ 2147483647 w 725"/>
                <a:gd name="T33" fmla="*/ 2147483647 h 600"/>
                <a:gd name="T34" fmla="*/ 2147483647 w 725"/>
                <a:gd name="T35" fmla="*/ 2147483647 h 600"/>
                <a:gd name="T36" fmla="*/ 2147483647 w 725"/>
                <a:gd name="T37" fmla="*/ 2147483647 h 600"/>
                <a:gd name="T38" fmla="*/ 2147483647 w 725"/>
                <a:gd name="T39" fmla="*/ 2147483647 h 600"/>
                <a:gd name="T40" fmla="*/ 2147483647 w 725"/>
                <a:gd name="T41" fmla="*/ 2147483647 h 600"/>
                <a:gd name="T42" fmla="*/ 0 w 725"/>
                <a:gd name="T43" fmla="*/ 2147483647 h 600"/>
                <a:gd name="T44" fmla="*/ 2147483647 w 725"/>
                <a:gd name="T45" fmla="*/ 2147483647 h 600"/>
                <a:gd name="T46" fmla="*/ 2147483647 w 725"/>
                <a:gd name="T47" fmla="*/ 2147483647 h 600"/>
                <a:gd name="T48" fmla="*/ 2147483647 w 725"/>
                <a:gd name="T49" fmla="*/ 2147483647 h 600"/>
                <a:gd name="T50" fmla="*/ 2147483647 w 725"/>
                <a:gd name="T51" fmla="*/ 2147483647 h 600"/>
                <a:gd name="T52" fmla="*/ 2147483647 w 725"/>
                <a:gd name="T53" fmla="*/ 2147483647 h 600"/>
                <a:gd name="T54" fmla="*/ 2147483647 w 725"/>
                <a:gd name="T55" fmla="*/ 2147483647 h 600"/>
                <a:gd name="T56" fmla="*/ 2147483647 w 725"/>
                <a:gd name="T57" fmla="*/ 2147483647 h 600"/>
                <a:gd name="T58" fmla="*/ 2147483647 w 725"/>
                <a:gd name="T59" fmla="*/ 2147483647 h 600"/>
                <a:gd name="T60" fmla="*/ 2147483647 w 725"/>
                <a:gd name="T61" fmla="*/ 2147483647 h 600"/>
                <a:gd name="T62" fmla="*/ 2147483647 w 725"/>
                <a:gd name="T63" fmla="*/ 2147483647 h 600"/>
                <a:gd name="T64" fmla="*/ 2147483647 w 725"/>
                <a:gd name="T65" fmla="*/ 2147483647 h 600"/>
                <a:gd name="T66" fmla="*/ 2147483647 w 725"/>
                <a:gd name="T67" fmla="*/ 2147483647 h 600"/>
                <a:gd name="T68" fmla="*/ 2147483647 w 725"/>
                <a:gd name="T69" fmla="*/ 2147483647 h 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25"/>
                <a:gd name="T106" fmla="*/ 0 h 600"/>
                <a:gd name="T107" fmla="*/ 725 w 725"/>
                <a:gd name="T108" fmla="*/ 600 h 6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25" h="600">
                  <a:moveTo>
                    <a:pt x="657" y="344"/>
                  </a:moveTo>
                  <a:lnTo>
                    <a:pt x="657" y="320"/>
                  </a:lnTo>
                  <a:lnTo>
                    <a:pt x="632" y="304"/>
                  </a:lnTo>
                  <a:lnTo>
                    <a:pt x="641" y="280"/>
                  </a:lnTo>
                  <a:lnTo>
                    <a:pt x="691" y="272"/>
                  </a:lnTo>
                  <a:lnTo>
                    <a:pt x="708" y="256"/>
                  </a:lnTo>
                  <a:lnTo>
                    <a:pt x="725" y="232"/>
                  </a:lnTo>
                  <a:lnTo>
                    <a:pt x="700" y="208"/>
                  </a:lnTo>
                  <a:lnTo>
                    <a:pt x="632" y="192"/>
                  </a:lnTo>
                  <a:lnTo>
                    <a:pt x="624" y="168"/>
                  </a:lnTo>
                  <a:lnTo>
                    <a:pt x="582" y="160"/>
                  </a:lnTo>
                  <a:lnTo>
                    <a:pt x="548" y="136"/>
                  </a:lnTo>
                  <a:lnTo>
                    <a:pt x="548" y="120"/>
                  </a:lnTo>
                  <a:lnTo>
                    <a:pt x="514" y="104"/>
                  </a:lnTo>
                  <a:lnTo>
                    <a:pt x="514" y="72"/>
                  </a:lnTo>
                  <a:lnTo>
                    <a:pt x="506" y="40"/>
                  </a:lnTo>
                  <a:lnTo>
                    <a:pt x="472" y="16"/>
                  </a:lnTo>
                  <a:lnTo>
                    <a:pt x="438" y="8"/>
                  </a:lnTo>
                  <a:lnTo>
                    <a:pt x="396" y="32"/>
                  </a:lnTo>
                  <a:lnTo>
                    <a:pt x="379" y="16"/>
                  </a:lnTo>
                  <a:lnTo>
                    <a:pt x="346" y="8"/>
                  </a:lnTo>
                  <a:lnTo>
                    <a:pt x="329" y="16"/>
                  </a:lnTo>
                  <a:lnTo>
                    <a:pt x="303" y="0"/>
                  </a:lnTo>
                  <a:lnTo>
                    <a:pt x="278" y="0"/>
                  </a:lnTo>
                  <a:lnTo>
                    <a:pt x="245" y="64"/>
                  </a:lnTo>
                  <a:lnTo>
                    <a:pt x="202" y="64"/>
                  </a:lnTo>
                  <a:lnTo>
                    <a:pt x="177" y="80"/>
                  </a:lnTo>
                  <a:lnTo>
                    <a:pt x="186" y="88"/>
                  </a:lnTo>
                  <a:lnTo>
                    <a:pt x="186" y="120"/>
                  </a:lnTo>
                  <a:lnTo>
                    <a:pt x="211" y="128"/>
                  </a:lnTo>
                  <a:lnTo>
                    <a:pt x="202" y="144"/>
                  </a:lnTo>
                  <a:lnTo>
                    <a:pt x="177" y="152"/>
                  </a:lnTo>
                  <a:lnTo>
                    <a:pt x="169" y="176"/>
                  </a:lnTo>
                  <a:lnTo>
                    <a:pt x="143" y="184"/>
                  </a:lnTo>
                  <a:lnTo>
                    <a:pt x="143" y="216"/>
                  </a:lnTo>
                  <a:lnTo>
                    <a:pt x="143" y="248"/>
                  </a:lnTo>
                  <a:lnTo>
                    <a:pt x="160" y="280"/>
                  </a:lnTo>
                  <a:lnTo>
                    <a:pt x="135" y="272"/>
                  </a:lnTo>
                  <a:lnTo>
                    <a:pt x="110" y="288"/>
                  </a:lnTo>
                  <a:lnTo>
                    <a:pt x="76" y="296"/>
                  </a:lnTo>
                  <a:lnTo>
                    <a:pt x="84" y="320"/>
                  </a:lnTo>
                  <a:lnTo>
                    <a:pt x="68" y="328"/>
                  </a:lnTo>
                  <a:lnTo>
                    <a:pt x="34" y="320"/>
                  </a:lnTo>
                  <a:lnTo>
                    <a:pt x="0" y="344"/>
                  </a:lnTo>
                  <a:lnTo>
                    <a:pt x="17" y="384"/>
                  </a:lnTo>
                  <a:lnTo>
                    <a:pt x="59" y="464"/>
                  </a:lnTo>
                  <a:lnTo>
                    <a:pt x="17" y="512"/>
                  </a:lnTo>
                  <a:lnTo>
                    <a:pt x="17" y="536"/>
                  </a:lnTo>
                  <a:lnTo>
                    <a:pt x="51" y="544"/>
                  </a:lnTo>
                  <a:lnTo>
                    <a:pt x="59" y="600"/>
                  </a:lnTo>
                  <a:lnTo>
                    <a:pt x="93" y="600"/>
                  </a:lnTo>
                  <a:lnTo>
                    <a:pt x="110" y="576"/>
                  </a:lnTo>
                  <a:lnTo>
                    <a:pt x="152" y="552"/>
                  </a:lnTo>
                  <a:lnTo>
                    <a:pt x="211" y="544"/>
                  </a:lnTo>
                  <a:lnTo>
                    <a:pt x="303" y="536"/>
                  </a:lnTo>
                  <a:lnTo>
                    <a:pt x="362" y="528"/>
                  </a:lnTo>
                  <a:lnTo>
                    <a:pt x="396" y="552"/>
                  </a:lnTo>
                  <a:lnTo>
                    <a:pt x="421" y="528"/>
                  </a:lnTo>
                  <a:lnTo>
                    <a:pt x="455" y="528"/>
                  </a:lnTo>
                  <a:lnTo>
                    <a:pt x="489" y="544"/>
                  </a:lnTo>
                  <a:lnTo>
                    <a:pt x="514" y="512"/>
                  </a:lnTo>
                  <a:lnTo>
                    <a:pt x="539" y="528"/>
                  </a:lnTo>
                  <a:lnTo>
                    <a:pt x="582" y="504"/>
                  </a:lnTo>
                  <a:lnTo>
                    <a:pt x="632" y="520"/>
                  </a:lnTo>
                  <a:lnTo>
                    <a:pt x="624" y="488"/>
                  </a:lnTo>
                  <a:lnTo>
                    <a:pt x="641" y="424"/>
                  </a:lnTo>
                  <a:lnTo>
                    <a:pt x="700" y="400"/>
                  </a:lnTo>
                  <a:lnTo>
                    <a:pt x="674" y="368"/>
                  </a:lnTo>
                  <a:lnTo>
                    <a:pt x="657" y="344"/>
                  </a:lnTo>
                  <a:close/>
                </a:path>
              </a:pathLst>
            </a:custGeom>
            <a:solidFill>
              <a:schemeClr val="bg1"/>
            </a:solidFill>
            <a:ln w="12700">
              <a:solidFill>
                <a:srgbClr val="000000"/>
              </a:solidFill>
              <a:round/>
              <a:headEnd/>
              <a:tailEnd/>
            </a:ln>
          </p:spPr>
          <p:txBody>
            <a:bodyPr/>
            <a:lstStyle/>
            <a:p>
              <a:endParaRPr lang="en-US"/>
            </a:p>
          </p:txBody>
        </p:sp>
        <p:sp>
          <p:nvSpPr>
            <p:cNvPr id="34914" name="Freeform 95"/>
            <p:cNvSpPr>
              <a:spLocks/>
            </p:cNvSpPr>
            <p:nvPr/>
          </p:nvSpPr>
          <p:spPr bwMode="auto">
            <a:xfrm>
              <a:off x="5930900" y="2776538"/>
              <a:ext cx="649288" cy="336550"/>
            </a:xfrm>
            <a:custGeom>
              <a:avLst/>
              <a:gdLst>
                <a:gd name="T0" fmla="*/ 2147483647 w 531"/>
                <a:gd name="T1" fmla="*/ 2147483647 h 280"/>
                <a:gd name="T2" fmla="*/ 2147483647 w 531"/>
                <a:gd name="T3" fmla="*/ 2147483647 h 280"/>
                <a:gd name="T4" fmla="*/ 2147483647 w 531"/>
                <a:gd name="T5" fmla="*/ 2147483647 h 280"/>
                <a:gd name="T6" fmla="*/ 2147483647 w 531"/>
                <a:gd name="T7" fmla="*/ 2147483647 h 280"/>
                <a:gd name="T8" fmla="*/ 2147483647 w 531"/>
                <a:gd name="T9" fmla="*/ 0 h 280"/>
                <a:gd name="T10" fmla="*/ 2147483647 w 531"/>
                <a:gd name="T11" fmla="*/ 0 h 280"/>
                <a:gd name="T12" fmla="*/ 2147483647 w 531"/>
                <a:gd name="T13" fmla="*/ 2147483647 h 280"/>
                <a:gd name="T14" fmla="*/ 2147483647 w 531"/>
                <a:gd name="T15" fmla="*/ 2147483647 h 280"/>
                <a:gd name="T16" fmla="*/ 2147483647 w 531"/>
                <a:gd name="T17" fmla="*/ 2147483647 h 280"/>
                <a:gd name="T18" fmla="*/ 2147483647 w 531"/>
                <a:gd name="T19" fmla="*/ 2147483647 h 280"/>
                <a:gd name="T20" fmla="*/ 2147483647 w 531"/>
                <a:gd name="T21" fmla="*/ 2147483647 h 280"/>
                <a:gd name="T22" fmla="*/ 2147483647 w 531"/>
                <a:gd name="T23" fmla="*/ 2147483647 h 280"/>
                <a:gd name="T24" fmla="*/ 2147483647 w 531"/>
                <a:gd name="T25" fmla="*/ 2147483647 h 280"/>
                <a:gd name="T26" fmla="*/ 2147483647 w 531"/>
                <a:gd name="T27" fmla="*/ 2147483647 h 280"/>
                <a:gd name="T28" fmla="*/ 2147483647 w 531"/>
                <a:gd name="T29" fmla="*/ 2147483647 h 280"/>
                <a:gd name="T30" fmla="*/ 2147483647 w 531"/>
                <a:gd name="T31" fmla="*/ 2147483647 h 280"/>
                <a:gd name="T32" fmla="*/ 2147483647 w 531"/>
                <a:gd name="T33" fmla="*/ 2147483647 h 280"/>
                <a:gd name="T34" fmla="*/ 0 w 531"/>
                <a:gd name="T35" fmla="*/ 2147483647 h 280"/>
                <a:gd name="T36" fmla="*/ 0 w 531"/>
                <a:gd name="T37" fmla="*/ 2147483647 h 280"/>
                <a:gd name="T38" fmla="*/ 2147483647 w 531"/>
                <a:gd name="T39" fmla="*/ 2147483647 h 280"/>
                <a:gd name="T40" fmla="*/ 2147483647 w 531"/>
                <a:gd name="T41" fmla="*/ 2147483647 h 280"/>
                <a:gd name="T42" fmla="*/ 2147483647 w 531"/>
                <a:gd name="T43" fmla="*/ 2147483647 h 280"/>
                <a:gd name="T44" fmla="*/ 2147483647 w 531"/>
                <a:gd name="T45" fmla="*/ 2147483647 h 280"/>
                <a:gd name="T46" fmla="*/ 2147483647 w 531"/>
                <a:gd name="T47" fmla="*/ 2147483647 h 280"/>
                <a:gd name="T48" fmla="*/ 2147483647 w 531"/>
                <a:gd name="T49" fmla="*/ 2147483647 h 280"/>
                <a:gd name="T50" fmla="*/ 2147483647 w 531"/>
                <a:gd name="T51" fmla="*/ 2147483647 h 280"/>
                <a:gd name="T52" fmla="*/ 2147483647 w 531"/>
                <a:gd name="T53" fmla="*/ 2147483647 h 280"/>
                <a:gd name="T54" fmla="*/ 2147483647 w 531"/>
                <a:gd name="T55" fmla="*/ 2147483647 h 280"/>
                <a:gd name="T56" fmla="*/ 2147483647 w 531"/>
                <a:gd name="T57" fmla="*/ 2147483647 h 280"/>
                <a:gd name="T58" fmla="*/ 2147483647 w 531"/>
                <a:gd name="T59" fmla="*/ 2147483647 h 280"/>
                <a:gd name="T60" fmla="*/ 2147483647 w 531"/>
                <a:gd name="T61" fmla="*/ 2147483647 h 280"/>
                <a:gd name="T62" fmla="*/ 2147483647 w 531"/>
                <a:gd name="T63" fmla="*/ 2147483647 h 280"/>
                <a:gd name="T64" fmla="*/ 2147483647 w 531"/>
                <a:gd name="T65" fmla="*/ 2147483647 h 280"/>
                <a:gd name="T66" fmla="*/ 2147483647 w 531"/>
                <a:gd name="T67" fmla="*/ 2147483647 h 280"/>
                <a:gd name="T68" fmla="*/ 2147483647 w 531"/>
                <a:gd name="T69" fmla="*/ 2147483647 h 280"/>
                <a:gd name="T70" fmla="*/ 2147483647 w 531"/>
                <a:gd name="T71" fmla="*/ 2147483647 h 2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1"/>
                <a:gd name="T109" fmla="*/ 0 h 280"/>
                <a:gd name="T110" fmla="*/ 531 w 531"/>
                <a:gd name="T111" fmla="*/ 280 h 2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1" h="280">
                  <a:moveTo>
                    <a:pt x="472" y="80"/>
                  </a:moveTo>
                  <a:lnTo>
                    <a:pt x="464" y="40"/>
                  </a:lnTo>
                  <a:lnTo>
                    <a:pt x="413" y="32"/>
                  </a:lnTo>
                  <a:lnTo>
                    <a:pt x="371" y="40"/>
                  </a:lnTo>
                  <a:lnTo>
                    <a:pt x="304" y="0"/>
                  </a:lnTo>
                  <a:lnTo>
                    <a:pt x="262" y="0"/>
                  </a:lnTo>
                  <a:lnTo>
                    <a:pt x="211" y="32"/>
                  </a:lnTo>
                  <a:lnTo>
                    <a:pt x="211" y="40"/>
                  </a:lnTo>
                  <a:lnTo>
                    <a:pt x="219" y="72"/>
                  </a:lnTo>
                  <a:lnTo>
                    <a:pt x="219" y="104"/>
                  </a:lnTo>
                  <a:lnTo>
                    <a:pt x="211" y="128"/>
                  </a:lnTo>
                  <a:lnTo>
                    <a:pt x="194" y="128"/>
                  </a:lnTo>
                  <a:lnTo>
                    <a:pt x="160" y="128"/>
                  </a:lnTo>
                  <a:lnTo>
                    <a:pt x="110" y="80"/>
                  </a:lnTo>
                  <a:lnTo>
                    <a:pt x="76" y="64"/>
                  </a:lnTo>
                  <a:lnTo>
                    <a:pt x="43" y="88"/>
                  </a:lnTo>
                  <a:lnTo>
                    <a:pt x="17" y="160"/>
                  </a:lnTo>
                  <a:lnTo>
                    <a:pt x="0" y="192"/>
                  </a:lnTo>
                  <a:lnTo>
                    <a:pt x="0" y="224"/>
                  </a:lnTo>
                  <a:lnTo>
                    <a:pt x="9" y="280"/>
                  </a:lnTo>
                  <a:lnTo>
                    <a:pt x="34" y="256"/>
                  </a:lnTo>
                  <a:lnTo>
                    <a:pt x="93" y="224"/>
                  </a:lnTo>
                  <a:lnTo>
                    <a:pt x="152" y="224"/>
                  </a:lnTo>
                  <a:lnTo>
                    <a:pt x="194" y="216"/>
                  </a:lnTo>
                  <a:lnTo>
                    <a:pt x="236" y="224"/>
                  </a:lnTo>
                  <a:lnTo>
                    <a:pt x="287" y="192"/>
                  </a:lnTo>
                  <a:lnTo>
                    <a:pt x="295" y="208"/>
                  </a:lnTo>
                  <a:lnTo>
                    <a:pt x="346" y="216"/>
                  </a:lnTo>
                  <a:lnTo>
                    <a:pt x="380" y="232"/>
                  </a:lnTo>
                  <a:lnTo>
                    <a:pt x="405" y="248"/>
                  </a:lnTo>
                  <a:lnTo>
                    <a:pt x="430" y="248"/>
                  </a:lnTo>
                  <a:lnTo>
                    <a:pt x="455" y="232"/>
                  </a:lnTo>
                  <a:lnTo>
                    <a:pt x="498" y="232"/>
                  </a:lnTo>
                  <a:lnTo>
                    <a:pt x="531" y="176"/>
                  </a:lnTo>
                  <a:lnTo>
                    <a:pt x="506" y="112"/>
                  </a:lnTo>
                  <a:lnTo>
                    <a:pt x="472" y="80"/>
                  </a:lnTo>
                  <a:close/>
                </a:path>
              </a:pathLst>
            </a:custGeom>
            <a:solidFill>
              <a:schemeClr val="bg1"/>
            </a:solidFill>
            <a:ln w="12700">
              <a:solidFill>
                <a:srgbClr val="000000"/>
              </a:solidFill>
              <a:round/>
              <a:headEnd/>
              <a:tailEnd/>
            </a:ln>
          </p:spPr>
          <p:txBody>
            <a:bodyPr/>
            <a:lstStyle/>
            <a:p>
              <a:endParaRPr lang="en-US"/>
            </a:p>
          </p:txBody>
        </p:sp>
        <p:sp>
          <p:nvSpPr>
            <p:cNvPr id="34915" name="Freeform 96"/>
            <p:cNvSpPr>
              <a:spLocks/>
            </p:cNvSpPr>
            <p:nvPr/>
          </p:nvSpPr>
          <p:spPr bwMode="auto">
            <a:xfrm>
              <a:off x="6065838" y="2538413"/>
              <a:ext cx="412750" cy="296863"/>
            </a:xfrm>
            <a:custGeom>
              <a:avLst/>
              <a:gdLst>
                <a:gd name="T0" fmla="*/ 2147483647 w 337"/>
                <a:gd name="T1" fmla="*/ 2147483647 h 248"/>
                <a:gd name="T2" fmla="*/ 2147483647 w 337"/>
                <a:gd name="T3" fmla="*/ 2147483647 h 248"/>
                <a:gd name="T4" fmla="*/ 2147483647 w 337"/>
                <a:gd name="T5" fmla="*/ 2147483647 h 248"/>
                <a:gd name="T6" fmla="*/ 2147483647 w 337"/>
                <a:gd name="T7" fmla="*/ 0 h 248"/>
                <a:gd name="T8" fmla="*/ 2147483647 w 337"/>
                <a:gd name="T9" fmla="*/ 2147483647 h 248"/>
                <a:gd name="T10" fmla="*/ 2147483647 w 337"/>
                <a:gd name="T11" fmla="*/ 2147483647 h 248"/>
                <a:gd name="T12" fmla="*/ 2147483647 w 337"/>
                <a:gd name="T13" fmla="*/ 2147483647 h 248"/>
                <a:gd name="T14" fmla="*/ 2147483647 w 337"/>
                <a:gd name="T15" fmla="*/ 2147483647 h 248"/>
                <a:gd name="T16" fmla="*/ 2147483647 w 337"/>
                <a:gd name="T17" fmla="*/ 2147483647 h 248"/>
                <a:gd name="T18" fmla="*/ 0 w 337"/>
                <a:gd name="T19" fmla="*/ 2147483647 h 248"/>
                <a:gd name="T20" fmla="*/ 2147483647 w 337"/>
                <a:gd name="T21" fmla="*/ 2147483647 h 248"/>
                <a:gd name="T22" fmla="*/ 2147483647 w 337"/>
                <a:gd name="T23" fmla="*/ 2147483647 h 248"/>
                <a:gd name="T24" fmla="*/ 2147483647 w 337"/>
                <a:gd name="T25" fmla="*/ 2147483647 h 248"/>
                <a:gd name="T26" fmla="*/ 2147483647 w 337"/>
                <a:gd name="T27" fmla="*/ 2147483647 h 248"/>
                <a:gd name="T28" fmla="*/ 2147483647 w 337"/>
                <a:gd name="T29" fmla="*/ 2147483647 h 248"/>
                <a:gd name="T30" fmla="*/ 2147483647 w 337"/>
                <a:gd name="T31" fmla="*/ 2147483647 h 248"/>
                <a:gd name="T32" fmla="*/ 2147483647 w 337"/>
                <a:gd name="T33" fmla="*/ 2147483647 h 248"/>
                <a:gd name="T34" fmla="*/ 2147483647 w 337"/>
                <a:gd name="T35" fmla="*/ 2147483647 h 248"/>
                <a:gd name="T36" fmla="*/ 2147483647 w 337"/>
                <a:gd name="T37" fmla="*/ 2147483647 h 248"/>
                <a:gd name="T38" fmla="*/ 2147483647 w 337"/>
                <a:gd name="T39" fmla="*/ 2147483647 h 248"/>
                <a:gd name="T40" fmla="*/ 2147483647 w 337"/>
                <a:gd name="T41" fmla="*/ 2147483647 h 248"/>
                <a:gd name="T42" fmla="*/ 2147483647 w 337"/>
                <a:gd name="T43" fmla="*/ 2147483647 h 248"/>
                <a:gd name="T44" fmla="*/ 2147483647 w 337"/>
                <a:gd name="T45" fmla="*/ 2147483647 h 248"/>
                <a:gd name="T46" fmla="*/ 2147483647 w 337"/>
                <a:gd name="T47" fmla="*/ 2147483647 h 2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7"/>
                <a:gd name="T73" fmla="*/ 0 h 248"/>
                <a:gd name="T74" fmla="*/ 337 w 337"/>
                <a:gd name="T75" fmla="*/ 248 h 2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7" h="248">
                  <a:moveTo>
                    <a:pt x="295" y="128"/>
                  </a:moveTo>
                  <a:lnTo>
                    <a:pt x="295" y="64"/>
                  </a:lnTo>
                  <a:lnTo>
                    <a:pt x="295" y="16"/>
                  </a:lnTo>
                  <a:lnTo>
                    <a:pt x="286" y="0"/>
                  </a:lnTo>
                  <a:lnTo>
                    <a:pt x="236" y="8"/>
                  </a:lnTo>
                  <a:lnTo>
                    <a:pt x="126" y="16"/>
                  </a:lnTo>
                  <a:lnTo>
                    <a:pt x="67" y="40"/>
                  </a:lnTo>
                  <a:lnTo>
                    <a:pt x="25" y="64"/>
                  </a:lnTo>
                  <a:lnTo>
                    <a:pt x="8" y="88"/>
                  </a:lnTo>
                  <a:lnTo>
                    <a:pt x="0" y="112"/>
                  </a:lnTo>
                  <a:lnTo>
                    <a:pt x="25" y="128"/>
                  </a:lnTo>
                  <a:lnTo>
                    <a:pt x="17" y="152"/>
                  </a:lnTo>
                  <a:lnTo>
                    <a:pt x="25" y="176"/>
                  </a:lnTo>
                  <a:lnTo>
                    <a:pt x="42" y="184"/>
                  </a:lnTo>
                  <a:lnTo>
                    <a:pt x="67" y="184"/>
                  </a:lnTo>
                  <a:lnTo>
                    <a:pt x="93" y="176"/>
                  </a:lnTo>
                  <a:lnTo>
                    <a:pt x="101" y="240"/>
                  </a:lnTo>
                  <a:lnTo>
                    <a:pt x="152" y="208"/>
                  </a:lnTo>
                  <a:lnTo>
                    <a:pt x="194" y="208"/>
                  </a:lnTo>
                  <a:lnTo>
                    <a:pt x="261" y="248"/>
                  </a:lnTo>
                  <a:lnTo>
                    <a:pt x="303" y="240"/>
                  </a:lnTo>
                  <a:lnTo>
                    <a:pt x="320" y="240"/>
                  </a:lnTo>
                  <a:lnTo>
                    <a:pt x="337" y="176"/>
                  </a:lnTo>
                  <a:lnTo>
                    <a:pt x="295" y="12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16" name="Freeform 97"/>
            <p:cNvSpPr>
              <a:spLocks/>
            </p:cNvSpPr>
            <p:nvPr/>
          </p:nvSpPr>
          <p:spPr bwMode="auto">
            <a:xfrm>
              <a:off x="6075363" y="860425"/>
              <a:ext cx="1371600" cy="2635250"/>
            </a:xfrm>
            <a:custGeom>
              <a:avLst/>
              <a:gdLst>
                <a:gd name="T0" fmla="*/ 2147483647 w 1121"/>
                <a:gd name="T1" fmla="*/ 2147483647 h 2200"/>
                <a:gd name="T2" fmla="*/ 2147483647 w 1121"/>
                <a:gd name="T3" fmla="*/ 2147483647 h 2200"/>
                <a:gd name="T4" fmla="*/ 2147483647 w 1121"/>
                <a:gd name="T5" fmla="*/ 2147483647 h 2200"/>
                <a:gd name="T6" fmla="*/ 2147483647 w 1121"/>
                <a:gd name="T7" fmla="*/ 2147483647 h 2200"/>
                <a:gd name="T8" fmla="*/ 2147483647 w 1121"/>
                <a:gd name="T9" fmla="*/ 2147483647 h 2200"/>
                <a:gd name="T10" fmla="*/ 2147483647 w 1121"/>
                <a:gd name="T11" fmla="*/ 2147483647 h 2200"/>
                <a:gd name="T12" fmla="*/ 2147483647 w 1121"/>
                <a:gd name="T13" fmla="*/ 2147483647 h 2200"/>
                <a:gd name="T14" fmla="*/ 2147483647 w 1121"/>
                <a:gd name="T15" fmla="*/ 2147483647 h 2200"/>
                <a:gd name="T16" fmla="*/ 2147483647 w 1121"/>
                <a:gd name="T17" fmla="*/ 2147483647 h 2200"/>
                <a:gd name="T18" fmla="*/ 2147483647 w 1121"/>
                <a:gd name="T19" fmla="*/ 2147483647 h 2200"/>
                <a:gd name="T20" fmla="*/ 2147483647 w 1121"/>
                <a:gd name="T21" fmla="*/ 2147483647 h 2200"/>
                <a:gd name="T22" fmla="*/ 2147483647 w 1121"/>
                <a:gd name="T23" fmla="*/ 2147483647 h 2200"/>
                <a:gd name="T24" fmla="*/ 2147483647 w 1121"/>
                <a:gd name="T25" fmla="*/ 2147483647 h 2200"/>
                <a:gd name="T26" fmla="*/ 2147483647 w 1121"/>
                <a:gd name="T27" fmla="*/ 2147483647 h 2200"/>
                <a:gd name="T28" fmla="*/ 2147483647 w 1121"/>
                <a:gd name="T29" fmla="*/ 2147483647 h 2200"/>
                <a:gd name="T30" fmla="*/ 2147483647 w 1121"/>
                <a:gd name="T31" fmla="*/ 2147483647 h 2200"/>
                <a:gd name="T32" fmla="*/ 2147483647 w 1121"/>
                <a:gd name="T33" fmla="*/ 2147483647 h 2200"/>
                <a:gd name="T34" fmla="*/ 2147483647 w 1121"/>
                <a:gd name="T35" fmla="*/ 2147483647 h 2200"/>
                <a:gd name="T36" fmla="*/ 2147483647 w 1121"/>
                <a:gd name="T37" fmla="*/ 2147483647 h 2200"/>
                <a:gd name="T38" fmla="*/ 2147483647 w 1121"/>
                <a:gd name="T39" fmla="*/ 2147483647 h 2200"/>
                <a:gd name="T40" fmla="*/ 2147483647 w 1121"/>
                <a:gd name="T41" fmla="*/ 2147483647 h 2200"/>
                <a:gd name="T42" fmla="*/ 2147483647 w 1121"/>
                <a:gd name="T43" fmla="*/ 2147483647 h 2200"/>
                <a:gd name="T44" fmla="*/ 2147483647 w 1121"/>
                <a:gd name="T45" fmla="*/ 2147483647 h 2200"/>
                <a:gd name="T46" fmla="*/ 2147483647 w 1121"/>
                <a:gd name="T47" fmla="*/ 2147483647 h 2200"/>
                <a:gd name="T48" fmla="*/ 2147483647 w 1121"/>
                <a:gd name="T49" fmla="*/ 2147483647 h 2200"/>
                <a:gd name="T50" fmla="*/ 2147483647 w 1121"/>
                <a:gd name="T51" fmla="*/ 2147483647 h 2200"/>
                <a:gd name="T52" fmla="*/ 2147483647 w 1121"/>
                <a:gd name="T53" fmla="*/ 2147483647 h 2200"/>
                <a:gd name="T54" fmla="*/ 2147483647 w 1121"/>
                <a:gd name="T55" fmla="*/ 2147483647 h 2200"/>
                <a:gd name="T56" fmla="*/ 2147483647 w 1121"/>
                <a:gd name="T57" fmla="*/ 2147483647 h 2200"/>
                <a:gd name="T58" fmla="*/ 2147483647 w 1121"/>
                <a:gd name="T59" fmla="*/ 2147483647 h 2200"/>
                <a:gd name="T60" fmla="*/ 2147483647 w 1121"/>
                <a:gd name="T61" fmla="*/ 2147483647 h 2200"/>
                <a:gd name="T62" fmla="*/ 2147483647 w 1121"/>
                <a:gd name="T63" fmla="*/ 2147483647 h 2200"/>
                <a:gd name="T64" fmla="*/ 2147483647 w 1121"/>
                <a:gd name="T65" fmla="*/ 2147483647 h 2200"/>
                <a:gd name="T66" fmla="*/ 2147483647 w 1121"/>
                <a:gd name="T67" fmla="*/ 2147483647 h 2200"/>
                <a:gd name="T68" fmla="*/ 2147483647 w 1121"/>
                <a:gd name="T69" fmla="*/ 2147483647 h 2200"/>
                <a:gd name="T70" fmla="*/ 2147483647 w 1121"/>
                <a:gd name="T71" fmla="*/ 2147483647 h 2200"/>
                <a:gd name="T72" fmla="*/ 2147483647 w 1121"/>
                <a:gd name="T73" fmla="*/ 2147483647 h 2200"/>
                <a:gd name="T74" fmla="*/ 2147483647 w 1121"/>
                <a:gd name="T75" fmla="*/ 2147483647 h 2200"/>
                <a:gd name="T76" fmla="*/ 2147483647 w 1121"/>
                <a:gd name="T77" fmla="*/ 2147483647 h 2200"/>
                <a:gd name="T78" fmla="*/ 2147483647 w 1121"/>
                <a:gd name="T79" fmla="*/ 2147483647 h 2200"/>
                <a:gd name="T80" fmla="*/ 2147483647 w 1121"/>
                <a:gd name="T81" fmla="*/ 2147483647 h 2200"/>
                <a:gd name="T82" fmla="*/ 2147483647 w 1121"/>
                <a:gd name="T83" fmla="*/ 2147483647 h 2200"/>
                <a:gd name="T84" fmla="*/ 2147483647 w 1121"/>
                <a:gd name="T85" fmla="*/ 2147483647 h 2200"/>
                <a:gd name="T86" fmla="*/ 2147483647 w 1121"/>
                <a:gd name="T87" fmla="*/ 2147483647 h 2200"/>
                <a:gd name="T88" fmla="*/ 2147483647 w 1121"/>
                <a:gd name="T89" fmla="*/ 2147483647 h 2200"/>
                <a:gd name="T90" fmla="*/ 2147483647 w 1121"/>
                <a:gd name="T91" fmla="*/ 2147483647 h 2200"/>
                <a:gd name="T92" fmla="*/ 2147483647 w 1121"/>
                <a:gd name="T93" fmla="*/ 2147483647 h 2200"/>
                <a:gd name="T94" fmla="*/ 2147483647 w 1121"/>
                <a:gd name="T95" fmla="*/ 2147483647 h 2200"/>
                <a:gd name="T96" fmla="*/ 2147483647 w 1121"/>
                <a:gd name="T97" fmla="*/ 2147483647 h 2200"/>
                <a:gd name="T98" fmla="*/ 2147483647 w 1121"/>
                <a:gd name="T99" fmla="*/ 2147483647 h 2200"/>
                <a:gd name="T100" fmla="*/ 2147483647 w 1121"/>
                <a:gd name="T101" fmla="*/ 2147483647 h 2200"/>
                <a:gd name="T102" fmla="*/ 2147483647 w 1121"/>
                <a:gd name="T103" fmla="*/ 2147483647 h 2200"/>
                <a:gd name="T104" fmla="*/ 2147483647 w 1121"/>
                <a:gd name="T105" fmla="*/ 2147483647 h 2200"/>
                <a:gd name="T106" fmla="*/ 2147483647 w 1121"/>
                <a:gd name="T107" fmla="*/ 2147483647 h 2200"/>
                <a:gd name="T108" fmla="*/ 2147483647 w 1121"/>
                <a:gd name="T109" fmla="*/ 2147483647 h 2200"/>
                <a:gd name="T110" fmla="*/ 2147483647 w 1121"/>
                <a:gd name="T111" fmla="*/ 2147483647 h 22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21"/>
                <a:gd name="T169" fmla="*/ 0 h 2200"/>
                <a:gd name="T170" fmla="*/ 1121 w 1121"/>
                <a:gd name="T171" fmla="*/ 2200 h 22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21" h="2200">
                  <a:moveTo>
                    <a:pt x="1014" y="13"/>
                  </a:moveTo>
                  <a:lnTo>
                    <a:pt x="1011" y="6"/>
                  </a:lnTo>
                  <a:lnTo>
                    <a:pt x="995" y="64"/>
                  </a:lnTo>
                  <a:lnTo>
                    <a:pt x="1011" y="112"/>
                  </a:lnTo>
                  <a:lnTo>
                    <a:pt x="1011" y="136"/>
                  </a:lnTo>
                  <a:lnTo>
                    <a:pt x="1003" y="160"/>
                  </a:lnTo>
                  <a:lnTo>
                    <a:pt x="961" y="184"/>
                  </a:lnTo>
                  <a:lnTo>
                    <a:pt x="936" y="184"/>
                  </a:lnTo>
                  <a:lnTo>
                    <a:pt x="919" y="168"/>
                  </a:lnTo>
                  <a:lnTo>
                    <a:pt x="902" y="160"/>
                  </a:lnTo>
                  <a:lnTo>
                    <a:pt x="893" y="168"/>
                  </a:lnTo>
                  <a:lnTo>
                    <a:pt x="877" y="168"/>
                  </a:lnTo>
                  <a:lnTo>
                    <a:pt x="877" y="144"/>
                  </a:lnTo>
                  <a:lnTo>
                    <a:pt x="877" y="112"/>
                  </a:lnTo>
                  <a:lnTo>
                    <a:pt x="893" y="88"/>
                  </a:lnTo>
                  <a:lnTo>
                    <a:pt x="902" y="64"/>
                  </a:lnTo>
                  <a:lnTo>
                    <a:pt x="893" y="48"/>
                  </a:lnTo>
                  <a:lnTo>
                    <a:pt x="851" y="16"/>
                  </a:lnTo>
                  <a:lnTo>
                    <a:pt x="801" y="24"/>
                  </a:lnTo>
                  <a:lnTo>
                    <a:pt x="750" y="40"/>
                  </a:lnTo>
                  <a:lnTo>
                    <a:pt x="700" y="48"/>
                  </a:lnTo>
                  <a:lnTo>
                    <a:pt x="742" y="64"/>
                  </a:lnTo>
                  <a:lnTo>
                    <a:pt x="784" y="88"/>
                  </a:lnTo>
                  <a:lnTo>
                    <a:pt x="809" y="176"/>
                  </a:lnTo>
                  <a:lnTo>
                    <a:pt x="818" y="200"/>
                  </a:lnTo>
                  <a:lnTo>
                    <a:pt x="843" y="200"/>
                  </a:lnTo>
                  <a:lnTo>
                    <a:pt x="877" y="224"/>
                  </a:lnTo>
                  <a:lnTo>
                    <a:pt x="902" y="264"/>
                  </a:lnTo>
                  <a:lnTo>
                    <a:pt x="910" y="312"/>
                  </a:lnTo>
                  <a:lnTo>
                    <a:pt x="851" y="304"/>
                  </a:lnTo>
                  <a:lnTo>
                    <a:pt x="801" y="312"/>
                  </a:lnTo>
                  <a:lnTo>
                    <a:pt x="784" y="320"/>
                  </a:lnTo>
                  <a:lnTo>
                    <a:pt x="784" y="328"/>
                  </a:lnTo>
                  <a:lnTo>
                    <a:pt x="776" y="360"/>
                  </a:lnTo>
                  <a:lnTo>
                    <a:pt x="750" y="400"/>
                  </a:lnTo>
                  <a:lnTo>
                    <a:pt x="725" y="448"/>
                  </a:lnTo>
                  <a:lnTo>
                    <a:pt x="717" y="480"/>
                  </a:lnTo>
                  <a:lnTo>
                    <a:pt x="733" y="496"/>
                  </a:lnTo>
                  <a:lnTo>
                    <a:pt x="818" y="560"/>
                  </a:lnTo>
                  <a:lnTo>
                    <a:pt x="750" y="584"/>
                  </a:lnTo>
                  <a:lnTo>
                    <a:pt x="666" y="584"/>
                  </a:lnTo>
                  <a:lnTo>
                    <a:pt x="599" y="568"/>
                  </a:lnTo>
                  <a:lnTo>
                    <a:pt x="582" y="584"/>
                  </a:lnTo>
                  <a:lnTo>
                    <a:pt x="573" y="608"/>
                  </a:lnTo>
                  <a:lnTo>
                    <a:pt x="607" y="640"/>
                  </a:lnTo>
                  <a:lnTo>
                    <a:pt x="658" y="648"/>
                  </a:lnTo>
                  <a:lnTo>
                    <a:pt x="683" y="648"/>
                  </a:lnTo>
                  <a:lnTo>
                    <a:pt x="700" y="664"/>
                  </a:lnTo>
                  <a:lnTo>
                    <a:pt x="700" y="680"/>
                  </a:lnTo>
                  <a:lnTo>
                    <a:pt x="683" y="704"/>
                  </a:lnTo>
                  <a:lnTo>
                    <a:pt x="674" y="712"/>
                  </a:lnTo>
                  <a:lnTo>
                    <a:pt x="649" y="712"/>
                  </a:lnTo>
                  <a:lnTo>
                    <a:pt x="599" y="696"/>
                  </a:lnTo>
                  <a:lnTo>
                    <a:pt x="548" y="688"/>
                  </a:lnTo>
                  <a:lnTo>
                    <a:pt x="523" y="680"/>
                  </a:lnTo>
                  <a:lnTo>
                    <a:pt x="506" y="664"/>
                  </a:lnTo>
                  <a:lnTo>
                    <a:pt x="447" y="592"/>
                  </a:lnTo>
                  <a:lnTo>
                    <a:pt x="438" y="552"/>
                  </a:lnTo>
                  <a:lnTo>
                    <a:pt x="438" y="536"/>
                  </a:lnTo>
                  <a:lnTo>
                    <a:pt x="430" y="512"/>
                  </a:lnTo>
                  <a:lnTo>
                    <a:pt x="380" y="496"/>
                  </a:lnTo>
                  <a:lnTo>
                    <a:pt x="337" y="480"/>
                  </a:lnTo>
                  <a:lnTo>
                    <a:pt x="253" y="424"/>
                  </a:lnTo>
                  <a:lnTo>
                    <a:pt x="287" y="424"/>
                  </a:lnTo>
                  <a:lnTo>
                    <a:pt x="321" y="440"/>
                  </a:lnTo>
                  <a:lnTo>
                    <a:pt x="396" y="440"/>
                  </a:lnTo>
                  <a:lnTo>
                    <a:pt x="565" y="448"/>
                  </a:lnTo>
                  <a:lnTo>
                    <a:pt x="624" y="432"/>
                  </a:lnTo>
                  <a:lnTo>
                    <a:pt x="658" y="416"/>
                  </a:lnTo>
                  <a:lnTo>
                    <a:pt x="683" y="384"/>
                  </a:lnTo>
                  <a:lnTo>
                    <a:pt x="708" y="320"/>
                  </a:lnTo>
                  <a:lnTo>
                    <a:pt x="717" y="288"/>
                  </a:lnTo>
                  <a:lnTo>
                    <a:pt x="708" y="256"/>
                  </a:lnTo>
                  <a:lnTo>
                    <a:pt x="666" y="208"/>
                  </a:lnTo>
                  <a:lnTo>
                    <a:pt x="599" y="192"/>
                  </a:lnTo>
                  <a:lnTo>
                    <a:pt x="447" y="152"/>
                  </a:lnTo>
                  <a:lnTo>
                    <a:pt x="371" y="128"/>
                  </a:lnTo>
                  <a:lnTo>
                    <a:pt x="304" y="128"/>
                  </a:lnTo>
                  <a:lnTo>
                    <a:pt x="152" y="128"/>
                  </a:lnTo>
                  <a:lnTo>
                    <a:pt x="177" y="104"/>
                  </a:lnTo>
                  <a:lnTo>
                    <a:pt x="186" y="96"/>
                  </a:lnTo>
                  <a:lnTo>
                    <a:pt x="169" y="88"/>
                  </a:lnTo>
                  <a:lnTo>
                    <a:pt x="127" y="80"/>
                  </a:lnTo>
                  <a:lnTo>
                    <a:pt x="110" y="112"/>
                  </a:lnTo>
                  <a:lnTo>
                    <a:pt x="76" y="120"/>
                  </a:lnTo>
                  <a:lnTo>
                    <a:pt x="76" y="144"/>
                  </a:lnTo>
                  <a:lnTo>
                    <a:pt x="42" y="176"/>
                  </a:lnTo>
                  <a:lnTo>
                    <a:pt x="9" y="224"/>
                  </a:lnTo>
                  <a:lnTo>
                    <a:pt x="0" y="272"/>
                  </a:lnTo>
                  <a:lnTo>
                    <a:pt x="26" y="336"/>
                  </a:lnTo>
                  <a:lnTo>
                    <a:pt x="68" y="352"/>
                  </a:lnTo>
                  <a:lnTo>
                    <a:pt x="110" y="392"/>
                  </a:lnTo>
                  <a:lnTo>
                    <a:pt x="93" y="448"/>
                  </a:lnTo>
                  <a:lnTo>
                    <a:pt x="144" y="544"/>
                  </a:lnTo>
                  <a:lnTo>
                    <a:pt x="211" y="608"/>
                  </a:lnTo>
                  <a:lnTo>
                    <a:pt x="169" y="656"/>
                  </a:lnTo>
                  <a:lnTo>
                    <a:pt x="177" y="712"/>
                  </a:lnTo>
                  <a:lnTo>
                    <a:pt x="245" y="752"/>
                  </a:lnTo>
                  <a:lnTo>
                    <a:pt x="287" y="808"/>
                  </a:lnTo>
                  <a:lnTo>
                    <a:pt x="270" y="856"/>
                  </a:lnTo>
                  <a:lnTo>
                    <a:pt x="337" y="896"/>
                  </a:lnTo>
                  <a:lnTo>
                    <a:pt x="388" y="944"/>
                  </a:lnTo>
                  <a:lnTo>
                    <a:pt x="380" y="1008"/>
                  </a:lnTo>
                  <a:lnTo>
                    <a:pt x="337" y="1080"/>
                  </a:lnTo>
                  <a:lnTo>
                    <a:pt x="287" y="1152"/>
                  </a:lnTo>
                  <a:lnTo>
                    <a:pt x="262" y="1248"/>
                  </a:lnTo>
                  <a:lnTo>
                    <a:pt x="278" y="1232"/>
                  </a:lnTo>
                  <a:lnTo>
                    <a:pt x="304" y="1264"/>
                  </a:lnTo>
                  <a:lnTo>
                    <a:pt x="346" y="1280"/>
                  </a:lnTo>
                  <a:lnTo>
                    <a:pt x="396" y="1288"/>
                  </a:lnTo>
                  <a:lnTo>
                    <a:pt x="396" y="1296"/>
                  </a:lnTo>
                  <a:lnTo>
                    <a:pt x="388" y="1304"/>
                  </a:lnTo>
                  <a:lnTo>
                    <a:pt x="363" y="1312"/>
                  </a:lnTo>
                  <a:lnTo>
                    <a:pt x="346" y="1312"/>
                  </a:lnTo>
                  <a:lnTo>
                    <a:pt x="337" y="1336"/>
                  </a:lnTo>
                  <a:lnTo>
                    <a:pt x="287" y="1344"/>
                  </a:lnTo>
                  <a:lnTo>
                    <a:pt x="287" y="1368"/>
                  </a:lnTo>
                  <a:lnTo>
                    <a:pt x="287" y="1392"/>
                  </a:lnTo>
                  <a:lnTo>
                    <a:pt x="278" y="1392"/>
                  </a:lnTo>
                  <a:lnTo>
                    <a:pt x="287" y="1408"/>
                  </a:lnTo>
                  <a:lnTo>
                    <a:pt x="287" y="1456"/>
                  </a:lnTo>
                  <a:lnTo>
                    <a:pt x="287" y="1520"/>
                  </a:lnTo>
                  <a:lnTo>
                    <a:pt x="329" y="1568"/>
                  </a:lnTo>
                  <a:lnTo>
                    <a:pt x="312" y="1632"/>
                  </a:lnTo>
                  <a:lnTo>
                    <a:pt x="346" y="1640"/>
                  </a:lnTo>
                  <a:lnTo>
                    <a:pt x="354" y="1680"/>
                  </a:lnTo>
                  <a:lnTo>
                    <a:pt x="388" y="1712"/>
                  </a:lnTo>
                  <a:lnTo>
                    <a:pt x="413" y="1776"/>
                  </a:lnTo>
                  <a:lnTo>
                    <a:pt x="413" y="1768"/>
                  </a:lnTo>
                  <a:lnTo>
                    <a:pt x="438" y="1768"/>
                  </a:lnTo>
                  <a:lnTo>
                    <a:pt x="464" y="1784"/>
                  </a:lnTo>
                  <a:lnTo>
                    <a:pt x="481" y="1776"/>
                  </a:lnTo>
                  <a:lnTo>
                    <a:pt x="514" y="1784"/>
                  </a:lnTo>
                  <a:lnTo>
                    <a:pt x="531" y="1800"/>
                  </a:lnTo>
                  <a:lnTo>
                    <a:pt x="573" y="1776"/>
                  </a:lnTo>
                  <a:lnTo>
                    <a:pt x="607" y="1784"/>
                  </a:lnTo>
                  <a:lnTo>
                    <a:pt x="641" y="1808"/>
                  </a:lnTo>
                  <a:lnTo>
                    <a:pt x="649" y="1840"/>
                  </a:lnTo>
                  <a:lnTo>
                    <a:pt x="649" y="1872"/>
                  </a:lnTo>
                  <a:lnTo>
                    <a:pt x="683" y="1888"/>
                  </a:lnTo>
                  <a:lnTo>
                    <a:pt x="683" y="1904"/>
                  </a:lnTo>
                  <a:lnTo>
                    <a:pt x="717" y="1928"/>
                  </a:lnTo>
                  <a:lnTo>
                    <a:pt x="759" y="1936"/>
                  </a:lnTo>
                  <a:lnTo>
                    <a:pt x="767" y="1960"/>
                  </a:lnTo>
                  <a:lnTo>
                    <a:pt x="835" y="1976"/>
                  </a:lnTo>
                  <a:lnTo>
                    <a:pt x="860" y="2000"/>
                  </a:lnTo>
                  <a:lnTo>
                    <a:pt x="843" y="2024"/>
                  </a:lnTo>
                  <a:lnTo>
                    <a:pt x="826" y="2040"/>
                  </a:lnTo>
                  <a:lnTo>
                    <a:pt x="776" y="2048"/>
                  </a:lnTo>
                  <a:lnTo>
                    <a:pt x="767" y="2072"/>
                  </a:lnTo>
                  <a:lnTo>
                    <a:pt x="792" y="2088"/>
                  </a:lnTo>
                  <a:lnTo>
                    <a:pt x="792" y="2112"/>
                  </a:lnTo>
                  <a:lnTo>
                    <a:pt x="809" y="2136"/>
                  </a:lnTo>
                  <a:lnTo>
                    <a:pt x="835" y="2168"/>
                  </a:lnTo>
                  <a:lnTo>
                    <a:pt x="868" y="2168"/>
                  </a:lnTo>
                  <a:lnTo>
                    <a:pt x="877" y="2128"/>
                  </a:lnTo>
                  <a:lnTo>
                    <a:pt x="910" y="2128"/>
                  </a:lnTo>
                  <a:lnTo>
                    <a:pt x="969" y="2096"/>
                  </a:lnTo>
                  <a:lnTo>
                    <a:pt x="1011" y="2112"/>
                  </a:lnTo>
                  <a:lnTo>
                    <a:pt x="1054" y="2136"/>
                  </a:lnTo>
                  <a:lnTo>
                    <a:pt x="1037" y="2152"/>
                  </a:lnTo>
                  <a:lnTo>
                    <a:pt x="1054" y="2192"/>
                  </a:lnTo>
                  <a:lnTo>
                    <a:pt x="1079" y="2200"/>
                  </a:lnTo>
                  <a:lnTo>
                    <a:pt x="1113" y="2200"/>
                  </a:lnTo>
                  <a:lnTo>
                    <a:pt x="1113" y="1360"/>
                  </a:lnTo>
                  <a:lnTo>
                    <a:pt x="1121" y="0"/>
                  </a:lnTo>
                  <a:lnTo>
                    <a:pt x="1116" y="8"/>
                  </a:lnTo>
                  <a:lnTo>
                    <a:pt x="1014" y="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17" name="Freeform 98"/>
            <p:cNvSpPr>
              <a:spLocks/>
            </p:cNvSpPr>
            <p:nvPr/>
          </p:nvSpPr>
          <p:spPr bwMode="auto">
            <a:xfrm>
              <a:off x="6065838" y="2528888"/>
              <a:ext cx="412750" cy="296863"/>
            </a:xfrm>
            <a:custGeom>
              <a:avLst/>
              <a:gdLst>
                <a:gd name="T0" fmla="*/ 2147483647 w 337"/>
                <a:gd name="T1" fmla="*/ 2147483647 h 248"/>
                <a:gd name="T2" fmla="*/ 2147483647 w 337"/>
                <a:gd name="T3" fmla="*/ 2147483647 h 248"/>
                <a:gd name="T4" fmla="*/ 2147483647 w 337"/>
                <a:gd name="T5" fmla="*/ 2147483647 h 248"/>
                <a:gd name="T6" fmla="*/ 2147483647 w 337"/>
                <a:gd name="T7" fmla="*/ 0 h 248"/>
                <a:gd name="T8" fmla="*/ 2147483647 w 337"/>
                <a:gd name="T9" fmla="*/ 2147483647 h 248"/>
                <a:gd name="T10" fmla="*/ 2147483647 w 337"/>
                <a:gd name="T11" fmla="*/ 2147483647 h 248"/>
                <a:gd name="T12" fmla="*/ 2147483647 w 337"/>
                <a:gd name="T13" fmla="*/ 2147483647 h 248"/>
                <a:gd name="T14" fmla="*/ 2147483647 w 337"/>
                <a:gd name="T15" fmla="*/ 2147483647 h 248"/>
                <a:gd name="T16" fmla="*/ 2147483647 w 337"/>
                <a:gd name="T17" fmla="*/ 2147483647 h 248"/>
                <a:gd name="T18" fmla="*/ 0 w 337"/>
                <a:gd name="T19" fmla="*/ 2147483647 h 248"/>
                <a:gd name="T20" fmla="*/ 2147483647 w 337"/>
                <a:gd name="T21" fmla="*/ 2147483647 h 248"/>
                <a:gd name="T22" fmla="*/ 2147483647 w 337"/>
                <a:gd name="T23" fmla="*/ 2147483647 h 248"/>
                <a:gd name="T24" fmla="*/ 2147483647 w 337"/>
                <a:gd name="T25" fmla="*/ 2147483647 h 248"/>
                <a:gd name="T26" fmla="*/ 2147483647 w 337"/>
                <a:gd name="T27" fmla="*/ 2147483647 h 248"/>
                <a:gd name="T28" fmla="*/ 2147483647 w 337"/>
                <a:gd name="T29" fmla="*/ 2147483647 h 248"/>
                <a:gd name="T30" fmla="*/ 2147483647 w 337"/>
                <a:gd name="T31" fmla="*/ 2147483647 h 248"/>
                <a:gd name="T32" fmla="*/ 2147483647 w 337"/>
                <a:gd name="T33" fmla="*/ 2147483647 h 248"/>
                <a:gd name="T34" fmla="*/ 2147483647 w 337"/>
                <a:gd name="T35" fmla="*/ 2147483647 h 248"/>
                <a:gd name="T36" fmla="*/ 2147483647 w 337"/>
                <a:gd name="T37" fmla="*/ 2147483647 h 248"/>
                <a:gd name="T38" fmla="*/ 2147483647 w 337"/>
                <a:gd name="T39" fmla="*/ 2147483647 h 248"/>
                <a:gd name="T40" fmla="*/ 2147483647 w 337"/>
                <a:gd name="T41" fmla="*/ 2147483647 h 248"/>
                <a:gd name="T42" fmla="*/ 2147483647 w 337"/>
                <a:gd name="T43" fmla="*/ 2147483647 h 248"/>
                <a:gd name="T44" fmla="*/ 2147483647 w 337"/>
                <a:gd name="T45" fmla="*/ 2147483647 h 248"/>
                <a:gd name="T46" fmla="*/ 2147483647 w 337"/>
                <a:gd name="T47" fmla="*/ 2147483647 h 2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7"/>
                <a:gd name="T73" fmla="*/ 0 h 248"/>
                <a:gd name="T74" fmla="*/ 337 w 337"/>
                <a:gd name="T75" fmla="*/ 248 h 2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7" h="248">
                  <a:moveTo>
                    <a:pt x="295" y="128"/>
                  </a:moveTo>
                  <a:lnTo>
                    <a:pt x="295" y="64"/>
                  </a:lnTo>
                  <a:lnTo>
                    <a:pt x="295" y="16"/>
                  </a:lnTo>
                  <a:lnTo>
                    <a:pt x="286" y="0"/>
                  </a:lnTo>
                  <a:lnTo>
                    <a:pt x="236" y="8"/>
                  </a:lnTo>
                  <a:lnTo>
                    <a:pt x="126" y="16"/>
                  </a:lnTo>
                  <a:lnTo>
                    <a:pt x="67" y="40"/>
                  </a:lnTo>
                  <a:lnTo>
                    <a:pt x="25" y="64"/>
                  </a:lnTo>
                  <a:lnTo>
                    <a:pt x="8" y="88"/>
                  </a:lnTo>
                  <a:lnTo>
                    <a:pt x="0" y="112"/>
                  </a:lnTo>
                  <a:lnTo>
                    <a:pt x="25" y="128"/>
                  </a:lnTo>
                  <a:lnTo>
                    <a:pt x="17" y="152"/>
                  </a:lnTo>
                  <a:lnTo>
                    <a:pt x="25" y="176"/>
                  </a:lnTo>
                  <a:lnTo>
                    <a:pt x="42" y="184"/>
                  </a:lnTo>
                  <a:lnTo>
                    <a:pt x="67" y="184"/>
                  </a:lnTo>
                  <a:lnTo>
                    <a:pt x="93" y="176"/>
                  </a:lnTo>
                  <a:lnTo>
                    <a:pt x="101" y="240"/>
                  </a:lnTo>
                  <a:lnTo>
                    <a:pt x="152" y="208"/>
                  </a:lnTo>
                  <a:lnTo>
                    <a:pt x="194" y="208"/>
                  </a:lnTo>
                  <a:lnTo>
                    <a:pt x="261" y="248"/>
                  </a:lnTo>
                  <a:lnTo>
                    <a:pt x="303" y="240"/>
                  </a:lnTo>
                  <a:lnTo>
                    <a:pt x="320" y="240"/>
                  </a:lnTo>
                  <a:lnTo>
                    <a:pt x="337" y="176"/>
                  </a:lnTo>
                  <a:lnTo>
                    <a:pt x="295" y="128"/>
                  </a:lnTo>
                  <a:close/>
                </a:path>
              </a:pathLst>
            </a:custGeom>
            <a:solidFill>
              <a:schemeClr val="bg1"/>
            </a:solidFill>
            <a:ln w="12700">
              <a:solidFill>
                <a:srgbClr val="000000"/>
              </a:solidFill>
              <a:round/>
              <a:headEnd/>
              <a:tailEnd/>
            </a:ln>
          </p:spPr>
          <p:txBody>
            <a:bodyPr/>
            <a:lstStyle/>
            <a:p>
              <a:endParaRPr lang="en-US"/>
            </a:p>
          </p:txBody>
        </p:sp>
        <p:sp>
          <p:nvSpPr>
            <p:cNvPr id="34918" name="Freeform 99"/>
            <p:cNvSpPr>
              <a:spLocks/>
            </p:cNvSpPr>
            <p:nvPr/>
          </p:nvSpPr>
          <p:spPr bwMode="auto">
            <a:xfrm>
              <a:off x="6075363" y="873125"/>
              <a:ext cx="1363663" cy="2622550"/>
            </a:xfrm>
            <a:custGeom>
              <a:avLst/>
              <a:gdLst>
                <a:gd name="T0" fmla="*/ 2147483647 w 1115"/>
                <a:gd name="T1" fmla="*/ 2147483647 h 2190"/>
                <a:gd name="T2" fmla="*/ 2147483647 w 1115"/>
                <a:gd name="T3" fmla="*/ 2147483647 h 2190"/>
                <a:gd name="T4" fmla="*/ 2147483647 w 1115"/>
                <a:gd name="T5" fmla="*/ 2147483647 h 2190"/>
                <a:gd name="T6" fmla="*/ 2147483647 w 1115"/>
                <a:gd name="T7" fmla="*/ 2147483647 h 2190"/>
                <a:gd name="T8" fmla="*/ 2147483647 w 1115"/>
                <a:gd name="T9" fmla="*/ 2147483647 h 2190"/>
                <a:gd name="T10" fmla="*/ 2147483647 w 1115"/>
                <a:gd name="T11" fmla="*/ 2147483647 h 2190"/>
                <a:gd name="T12" fmla="*/ 2147483647 w 1115"/>
                <a:gd name="T13" fmla="*/ 2147483647 h 2190"/>
                <a:gd name="T14" fmla="*/ 2147483647 w 1115"/>
                <a:gd name="T15" fmla="*/ 2147483647 h 2190"/>
                <a:gd name="T16" fmla="*/ 2147483647 w 1115"/>
                <a:gd name="T17" fmla="*/ 2147483647 h 2190"/>
                <a:gd name="T18" fmla="*/ 2147483647 w 1115"/>
                <a:gd name="T19" fmla="*/ 2147483647 h 2190"/>
                <a:gd name="T20" fmla="*/ 2147483647 w 1115"/>
                <a:gd name="T21" fmla="*/ 2147483647 h 2190"/>
                <a:gd name="T22" fmla="*/ 2147483647 w 1115"/>
                <a:gd name="T23" fmla="*/ 2147483647 h 2190"/>
                <a:gd name="T24" fmla="*/ 2147483647 w 1115"/>
                <a:gd name="T25" fmla="*/ 2147483647 h 2190"/>
                <a:gd name="T26" fmla="*/ 2147483647 w 1115"/>
                <a:gd name="T27" fmla="*/ 2147483647 h 2190"/>
                <a:gd name="T28" fmla="*/ 2147483647 w 1115"/>
                <a:gd name="T29" fmla="*/ 2147483647 h 2190"/>
                <a:gd name="T30" fmla="*/ 2147483647 w 1115"/>
                <a:gd name="T31" fmla="*/ 2147483647 h 2190"/>
                <a:gd name="T32" fmla="*/ 2147483647 w 1115"/>
                <a:gd name="T33" fmla="*/ 2147483647 h 2190"/>
                <a:gd name="T34" fmla="*/ 2147483647 w 1115"/>
                <a:gd name="T35" fmla="*/ 2147483647 h 2190"/>
                <a:gd name="T36" fmla="*/ 2147483647 w 1115"/>
                <a:gd name="T37" fmla="*/ 2147483647 h 2190"/>
                <a:gd name="T38" fmla="*/ 2147483647 w 1115"/>
                <a:gd name="T39" fmla="*/ 2147483647 h 2190"/>
                <a:gd name="T40" fmla="*/ 2147483647 w 1115"/>
                <a:gd name="T41" fmla="*/ 2147483647 h 2190"/>
                <a:gd name="T42" fmla="*/ 2147483647 w 1115"/>
                <a:gd name="T43" fmla="*/ 2147483647 h 2190"/>
                <a:gd name="T44" fmla="*/ 2147483647 w 1115"/>
                <a:gd name="T45" fmla="*/ 2147483647 h 2190"/>
                <a:gd name="T46" fmla="*/ 2147483647 w 1115"/>
                <a:gd name="T47" fmla="*/ 2147483647 h 2190"/>
                <a:gd name="T48" fmla="*/ 2147483647 w 1115"/>
                <a:gd name="T49" fmla="*/ 2147483647 h 2190"/>
                <a:gd name="T50" fmla="*/ 2147483647 w 1115"/>
                <a:gd name="T51" fmla="*/ 2147483647 h 2190"/>
                <a:gd name="T52" fmla="*/ 2147483647 w 1115"/>
                <a:gd name="T53" fmla="*/ 2147483647 h 2190"/>
                <a:gd name="T54" fmla="*/ 2147483647 w 1115"/>
                <a:gd name="T55" fmla="*/ 2147483647 h 2190"/>
                <a:gd name="T56" fmla="*/ 2147483647 w 1115"/>
                <a:gd name="T57" fmla="*/ 2147483647 h 2190"/>
                <a:gd name="T58" fmla="*/ 2147483647 w 1115"/>
                <a:gd name="T59" fmla="*/ 2147483647 h 2190"/>
                <a:gd name="T60" fmla="*/ 2147483647 w 1115"/>
                <a:gd name="T61" fmla="*/ 2147483647 h 2190"/>
                <a:gd name="T62" fmla="*/ 2147483647 w 1115"/>
                <a:gd name="T63" fmla="*/ 2147483647 h 2190"/>
                <a:gd name="T64" fmla="*/ 2147483647 w 1115"/>
                <a:gd name="T65" fmla="*/ 2147483647 h 2190"/>
                <a:gd name="T66" fmla="*/ 2147483647 w 1115"/>
                <a:gd name="T67" fmla="*/ 2147483647 h 2190"/>
                <a:gd name="T68" fmla="*/ 2147483647 w 1115"/>
                <a:gd name="T69" fmla="*/ 2147483647 h 2190"/>
                <a:gd name="T70" fmla="*/ 2147483647 w 1115"/>
                <a:gd name="T71" fmla="*/ 2147483647 h 2190"/>
                <a:gd name="T72" fmla="*/ 2147483647 w 1115"/>
                <a:gd name="T73" fmla="*/ 2147483647 h 2190"/>
                <a:gd name="T74" fmla="*/ 2147483647 w 1115"/>
                <a:gd name="T75" fmla="*/ 2147483647 h 2190"/>
                <a:gd name="T76" fmla="*/ 2147483647 w 1115"/>
                <a:gd name="T77" fmla="*/ 2147483647 h 2190"/>
                <a:gd name="T78" fmla="*/ 2147483647 w 1115"/>
                <a:gd name="T79" fmla="*/ 2147483647 h 2190"/>
                <a:gd name="T80" fmla="*/ 2147483647 w 1115"/>
                <a:gd name="T81" fmla="*/ 2147483647 h 2190"/>
                <a:gd name="T82" fmla="*/ 2147483647 w 1115"/>
                <a:gd name="T83" fmla="*/ 2147483647 h 2190"/>
                <a:gd name="T84" fmla="*/ 2147483647 w 1115"/>
                <a:gd name="T85" fmla="*/ 2147483647 h 2190"/>
                <a:gd name="T86" fmla="*/ 2147483647 w 1115"/>
                <a:gd name="T87" fmla="*/ 2147483647 h 2190"/>
                <a:gd name="T88" fmla="*/ 2147483647 w 1115"/>
                <a:gd name="T89" fmla="*/ 2147483647 h 2190"/>
                <a:gd name="T90" fmla="*/ 2147483647 w 1115"/>
                <a:gd name="T91" fmla="*/ 2147483647 h 2190"/>
                <a:gd name="T92" fmla="*/ 2147483647 w 1115"/>
                <a:gd name="T93" fmla="*/ 2147483647 h 2190"/>
                <a:gd name="T94" fmla="*/ 2147483647 w 1115"/>
                <a:gd name="T95" fmla="*/ 2147483647 h 2190"/>
                <a:gd name="T96" fmla="*/ 2147483647 w 1115"/>
                <a:gd name="T97" fmla="*/ 2147483647 h 2190"/>
                <a:gd name="T98" fmla="*/ 2147483647 w 1115"/>
                <a:gd name="T99" fmla="*/ 2147483647 h 2190"/>
                <a:gd name="T100" fmla="*/ 2147483647 w 1115"/>
                <a:gd name="T101" fmla="*/ 2147483647 h 2190"/>
                <a:gd name="T102" fmla="*/ 2147483647 w 1115"/>
                <a:gd name="T103" fmla="*/ 2147483647 h 2190"/>
                <a:gd name="T104" fmla="*/ 2147483647 w 1115"/>
                <a:gd name="T105" fmla="*/ 2147483647 h 2190"/>
                <a:gd name="T106" fmla="*/ 2147483647 w 1115"/>
                <a:gd name="T107" fmla="*/ 2147483647 h 2190"/>
                <a:gd name="T108" fmla="*/ 2147483647 w 1115"/>
                <a:gd name="T109" fmla="*/ 0 h 21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15"/>
                <a:gd name="T166" fmla="*/ 0 h 2190"/>
                <a:gd name="T167" fmla="*/ 1115 w 1115"/>
                <a:gd name="T168" fmla="*/ 2190 h 219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15" h="2190">
                  <a:moveTo>
                    <a:pt x="1011" y="0"/>
                  </a:moveTo>
                  <a:lnTo>
                    <a:pt x="995" y="54"/>
                  </a:lnTo>
                  <a:lnTo>
                    <a:pt x="1011" y="102"/>
                  </a:lnTo>
                  <a:lnTo>
                    <a:pt x="1011" y="126"/>
                  </a:lnTo>
                  <a:lnTo>
                    <a:pt x="1003" y="150"/>
                  </a:lnTo>
                  <a:lnTo>
                    <a:pt x="961" y="174"/>
                  </a:lnTo>
                  <a:lnTo>
                    <a:pt x="936" y="174"/>
                  </a:lnTo>
                  <a:lnTo>
                    <a:pt x="919" y="158"/>
                  </a:lnTo>
                  <a:lnTo>
                    <a:pt x="902" y="150"/>
                  </a:lnTo>
                  <a:lnTo>
                    <a:pt x="893" y="158"/>
                  </a:lnTo>
                  <a:lnTo>
                    <a:pt x="877" y="158"/>
                  </a:lnTo>
                  <a:lnTo>
                    <a:pt x="877" y="134"/>
                  </a:lnTo>
                  <a:lnTo>
                    <a:pt x="877" y="102"/>
                  </a:lnTo>
                  <a:lnTo>
                    <a:pt x="893" y="78"/>
                  </a:lnTo>
                  <a:lnTo>
                    <a:pt x="902" y="54"/>
                  </a:lnTo>
                  <a:lnTo>
                    <a:pt x="893" y="38"/>
                  </a:lnTo>
                  <a:lnTo>
                    <a:pt x="851" y="6"/>
                  </a:lnTo>
                  <a:lnTo>
                    <a:pt x="801" y="14"/>
                  </a:lnTo>
                  <a:lnTo>
                    <a:pt x="750" y="30"/>
                  </a:lnTo>
                  <a:lnTo>
                    <a:pt x="700" y="38"/>
                  </a:lnTo>
                  <a:lnTo>
                    <a:pt x="742" y="54"/>
                  </a:lnTo>
                  <a:lnTo>
                    <a:pt x="784" y="78"/>
                  </a:lnTo>
                  <a:lnTo>
                    <a:pt x="809" y="166"/>
                  </a:lnTo>
                  <a:lnTo>
                    <a:pt x="818" y="190"/>
                  </a:lnTo>
                  <a:lnTo>
                    <a:pt x="843" y="190"/>
                  </a:lnTo>
                  <a:lnTo>
                    <a:pt x="877" y="214"/>
                  </a:lnTo>
                  <a:lnTo>
                    <a:pt x="902" y="254"/>
                  </a:lnTo>
                  <a:lnTo>
                    <a:pt x="910" y="302"/>
                  </a:lnTo>
                  <a:lnTo>
                    <a:pt x="851" y="294"/>
                  </a:lnTo>
                  <a:lnTo>
                    <a:pt x="801" y="302"/>
                  </a:lnTo>
                  <a:lnTo>
                    <a:pt x="784" y="310"/>
                  </a:lnTo>
                  <a:lnTo>
                    <a:pt x="784" y="318"/>
                  </a:lnTo>
                  <a:lnTo>
                    <a:pt x="776" y="350"/>
                  </a:lnTo>
                  <a:lnTo>
                    <a:pt x="750" y="390"/>
                  </a:lnTo>
                  <a:lnTo>
                    <a:pt x="725" y="438"/>
                  </a:lnTo>
                  <a:lnTo>
                    <a:pt x="717" y="470"/>
                  </a:lnTo>
                  <a:lnTo>
                    <a:pt x="733" y="486"/>
                  </a:lnTo>
                  <a:lnTo>
                    <a:pt x="818" y="550"/>
                  </a:lnTo>
                  <a:lnTo>
                    <a:pt x="750" y="574"/>
                  </a:lnTo>
                  <a:lnTo>
                    <a:pt x="666" y="574"/>
                  </a:lnTo>
                  <a:lnTo>
                    <a:pt x="599" y="558"/>
                  </a:lnTo>
                  <a:lnTo>
                    <a:pt x="582" y="574"/>
                  </a:lnTo>
                  <a:lnTo>
                    <a:pt x="573" y="598"/>
                  </a:lnTo>
                  <a:lnTo>
                    <a:pt x="607" y="630"/>
                  </a:lnTo>
                  <a:lnTo>
                    <a:pt x="658" y="638"/>
                  </a:lnTo>
                  <a:lnTo>
                    <a:pt x="683" y="638"/>
                  </a:lnTo>
                  <a:lnTo>
                    <a:pt x="700" y="654"/>
                  </a:lnTo>
                  <a:lnTo>
                    <a:pt x="700" y="670"/>
                  </a:lnTo>
                  <a:lnTo>
                    <a:pt x="683" y="694"/>
                  </a:lnTo>
                  <a:lnTo>
                    <a:pt x="674" y="702"/>
                  </a:lnTo>
                  <a:lnTo>
                    <a:pt x="649" y="702"/>
                  </a:lnTo>
                  <a:lnTo>
                    <a:pt x="599" y="686"/>
                  </a:lnTo>
                  <a:lnTo>
                    <a:pt x="548" y="678"/>
                  </a:lnTo>
                  <a:lnTo>
                    <a:pt x="523" y="670"/>
                  </a:lnTo>
                  <a:lnTo>
                    <a:pt x="506" y="654"/>
                  </a:lnTo>
                  <a:lnTo>
                    <a:pt x="447" y="582"/>
                  </a:lnTo>
                  <a:lnTo>
                    <a:pt x="438" y="542"/>
                  </a:lnTo>
                  <a:lnTo>
                    <a:pt x="438" y="526"/>
                  </a:lnTo>
                  <a:lnTo>
                    <a:pt x="430" y="502"/>
                  </a:lnTo>
                  <a:lnTo>
                    <a:pt x="380" y="486"/>
                  </a:lnTo>
                  <a:lnTo>
                    <a:pt x="337" y="470"/>
                  </a:lnTo>
                  <a:lnTo>
                    <a:pt x="253" y="414"/>
                  </a:lnTo>
                  <a:lnTo>
                    <a:pt x="287" y="414"/>
                  </a:lnTo>
                  <a:lnTo>
                    <a:pt x="321" y="430"/>
                  </a:lnTo>
                  <a:lnTo>
                    <a:pt x="396" y="430"/>
                  </a:lnTo>
                  <a:lnTo>
                    <a:pt x="565" y="438"/>
                  </a:lnTo>
                  <a:lnTo>
                    <a:pt x="624" y="422"/>
                  </a:lnTo>
                  <a:lnTo>
                    <a:pt x="658" y="406"/>
                  </a:lnTo>
                  <a:lnTo>
                    <a:pt x="683" y="374"/>
                  </a:lnTo>
                  <a:lnTo>
                    <a:pt x="708" y="310"/>
                  </a:lnTo>
                  <a:lnTo>
                    <a:pt x="717" y="278"/>
                  </a:lnTo>
                  <a:lnTo>
                    <a:pt x="708" y="246"/>
                  </a:lnTo>
                  <a:lnTo>
                    <a:pt x="666" y="198"/>
                  </a:lnTo>
                  <a:lnTo>
                    <a:pt x="599" y="182"/>
                  </a:lnTo>
                  <a:lnTo>
                    <a:pt x="447" y="142"/>
                  </a:lnTo>
                  <a:lnTo>
                    <a:pt x="371" y="118"/>
                  </a:lnTo>
                  <a:lnTo>
                    <a:pt x="304" y="118"/>
                  </a:lnTo>
                  <a:lnTo>
                    <a:pt x="152" y="118"/>
                  </a:lnTo>
                  <a:lnTo>
                    <a:pt x="177" y="94"/>
                  </a:lnTo>
                  <a:lnTo>
                    <a:pt x="186" y="86"/>
                  </a:lnTo>
                  <a:lnTo>
                    <a:pt x="169" y="78"/>
                  </a:lnTo>
                  <a:lnTo>
                    <a:pt x="127" y="70"/>
                  </a:lnTo>
                  <a:lnTo>
                    <a:pt x="110" y="102"/>
                  </a:lnTo>
                  <a:lnTo>
                    <a:pt x="76" y="110"/>
                  </a:lnTo>
                  <a:lnTo>
                    <a:pt x="76" y="134"/>
                  </a:lnTo>
                  <a:lnTo>
                    <a:pt x="42" y="166"/>
                  </a:lnTo>
                  <a:lnTo>
                    <a:pt x="9" y="214"/>
                  </a:lnTo>
                  <a:lnTo>
                    <a:pt x="0" y="262"/>
                  </a:lnTo>
                  <a:lnTo>
                    <a:pt x="26" y="326"/>
                  </a:lnTo>
                  <a:lnTo>
                    <a:pt x="68" y="342"/>
                  </a:lnTo>
                  <a:lnTo>
                    <a:pt x="110" y="382"/>
                  </a:lnTo>
                  <a:lnTo>
                    <a:pt x="93" y="438"/>
                  </a:lnTo>
                  <a:lnTo>
                    <a:pt x="144" y="534"/>
                  </a:lnTo>
                  <a:lnTo>
                    <a:pt x="211" y="598"/>
                  </a:lnTo>
                  <a:lnTo>
                    <a:pt x="169" y="646"/>
                  </a:lnTo>
                  <a:lnTo>
                    <a:pt x="177" y="702"/>
                  </a:lnTo>
                  <a:lnTo>
                    <a:pt x="245" y="742"/>
                  </a:lnTo>
                  <a:lnTo>
                    <a:pt x="287" y="798"/>
                  </a:lnTo>
                  <a:lnTo>
                    <a:pt x="270" y="846"/>
                  </a:lnTo>
                  <a:lnTo>
                    <a:pt x="337" y="886"/>
                  </a:lnTo>
                  <a:lnTo>
                    <a:pt x="388" y="934"/>
                  </a:lnTo>
                  <a:lnTo>
                    <a:pt x="380" y="998"/>
                  </a:lnTo>
                  <a:lnTo>
                    <a:pt x="337" y="1070"/>
                  </a:lnTo>
                  <a:lnTo>
                    <a:pt x="287" y="1142"/>
                  </a:lnTo>
                  <a:lnTo>
                    <a:pt x="262" y="1238"/>
                  </a:lnTo>
                  <a:lnTo>
                    <a:pt x="278" y="1222"/>
                  </a:lnTo>
                  <a:lnTo>
                    <a:pt x="304" y="1254"/>
                  </a:lnTo>
                  <a:lnTo>
                    <a:pt x="346" y="1270"/>
                  </a:lnTo>
                  <a:lnTo>
                    <a:pt x="396" y="1278"/>
                  </a:lnTo>
                  <a:lnTo>
                    <a:pt x="396" y="1286"/>
                  </a:lnTo>
                  <a:lnTo>
                    <a:pt x="388" y="1294"/>
                  </a:lnTo>
                  <a:lnTo>
                    <a:pt x="363" y="1302"/>
                  </a:lnTo>
                  <a:lnTo>
                    <a:pt x="346" y="1302"/>
                  </a:lnTo>
                  <a:lnTo>
                    <a:pt x="337" y="1326"/>
                  </a:lnTo>
                  <a:lnTo>
                    <a:pt x="287" y="1334"/>
                  </a:lnTo>
                  <a:lnTo>
                    <a:pt x="287" y="1358"/>
                  </a:lnTo>
                  <a:lnTo>
                    <a:pt x="287" y="1382"/>
                  </a:lnTo>
                  <a:lnTo>
                    <a:pt x="278" y="1382"/>
                  </a:lnTo>
                  <a:lnTo>
                    <a:pt x="287" y="1398"/>
                  </a:lnTo>
                  <a:lnTo>
                    <a:pt x="287" y="1446"/>
                  </a:lnTo>
                  <a:lnTo>
                    <a:pt x="287" y="1510"/>
                  </a:lnTo>
                  <a:lnTo>
                    <a:pt x="329" y="1558"/>
                  </a:lnTo>
                  <a:lnTo>
                    <a:pt x="312" y="1622"/>
                  </a:lnTo>
                  <a:lnTo>
                    <a:pt x="346" y="1630"/>
                  </a:lnTo>
                  <a:lnTo>
                    <a:pt x="354" y="1670"/>
                  </a:lnTo>
                  <a:lnTo>
                    <a:pt x="388" y="1702"/>
                  </a:lnTo>
                  <a:lnTo>
                    <a:pt x="413" y="1766"/>
                  </a:lnTo>
                  <a:lnTo>
                    <a:pt x="413" y="1758"/>
                  </a:lnTo>
                  <a:lnTo>
                    <a:pt x="438" y="1758"/>
                  </a:lnTo>
                  <a:lnTo>
                    <a:pt x="464" y="1774"/>
                  </a:lnTo>
                  <a:lnTo>
                    <a:pt x="481" y="1766"/>
                  </a:lnTo>
                  <a:lnTo>
                    <a:pt x="514" y="1774"/>
                  </a:lnTo>
                  <a:lnTo>
                    <a:pt x="531" y="1790"/>
                  </a:lnTo>
                  <a:lnTo>
                    <a:pt x="573" y="1766"/>
                  </a:lnTo>
                  <a:lnTo>
                    <a:pt x="607" y="1774"/>
                  </a:lnTo>
                  <a:lnTo>
                    <a:pt x="641" y="1798"/>
                  </a:lnTo>
                  <a:lnTo>
                    <a:pt x="649" y="1830"/>
                  </a:lnTo>
                  <a:lnTo>
                    <a:pt x="649" y="1862"/>
                  </a:lnTo>
                  <a:lnTo>
                    <a:pt x="683" y="1878"/>
                  </a:lnTo>
                  <a:lnTo>
                    <a:pt x="683" y="1894"/>
                  </a:lnTo>
                  <a:lnTo>
                    <a:pt x="717" y="1918"/>
                  </a:lnTo>
                  <a:lnTo>
                    <a:pt x="759" y="1926"/>
                  </a:lnTo>
                  <a:lnTo>
                    <a:pt x="767" y="1950"/>
                  </a:lnTo>
                  <a:lnTo>
                    <a:pt x="835" y="1966"/>
                  </a:lnTo>
                  <a:lnTo>
                    <a:pt x="860" y="1990"/>
                  </a:lnTo>
                  <a:lnTo>
                    <a:pt x="843" y="2014"/>
                  </a:lnTo>
                  <a:lnTo>
                    <a:pt x="826" y="2030"/>
                  </a:lnTo>
                  <a:lnTo>
                    <a:pt x="776" y="2038"/>
                  </a:lnTo>
                  <a:lnTo>
                    <a:pt x="767" y="2062"/>
                  </a:lnTo>
                  <a:lnTo>
                    <a:pt x="792" y="2078"/>
                  </a:lnTo>
                  <a:lnTo>
                    <a:pt x="792" y="2102"/>
                  </a:lnTo>
                  <a:lnTo>
                    <a:pt x="809" y="2126"/>
                  </a:lnTo>
                  <a:lnTo>
                    <a:pt x="835" y="2158"/>
                  </a:lnTo>
                  <a:lnTo>
                    <a:pt x="868" y="2158"/>
                  </a:lnTo>
                  <a:lnTo>
                    <a:pt x="877" y="2118"/>
                  </a:lnTo>
                  <a:lnTo>
                    <a:pt x="910" y="2118"/>
                  </a:lnTo>
                  <a:lnTo>
                    <a:pt x="969" y="2086"/>
                  </a:lnTo>
                  <a:lnTo>
                    <a:pt x="1011" y="2102"/>
                  </a:lnTo>
                  <a:lnTo>
                    <a:pt x="1054" y="2126"/>
                  </a:lnTo>
                  <a:lnTo>
                    <a:pt x="1037" y="2142"/>
                  </a:lnTo>
                  <a:lnTo>
                    <a:pt x="1054" y="2182"/>
                  </a:lnTo>
                  <a:lnTo>
                    <a:pt x="1079" y="2190"/>
                  </a:lnTo>
                  <a:lnTo>
                    <a:pt x="1113" y="2190"/>
                  </a:lnTo>
                  <a:lnTo>
                    <a:pt x="1115" y="0"/>
                  </a:lnTo>
                  <a:lnTo>
                    <a:pt x="1011" y="0"/>
                  </a:lnTo>
                  <a:close/>
                </a:path>
              </a:pathLst>
            </a:custGeom>
            <a:solidFill>
              <a:srgbClr val="000099"/>
            </a:solidFill>
            <a:ln w="12700">
              <a:solidFill>
                <a:srgbClr val="000000"/>
              </a:solidFill>
              <a:round/>
              <a:headEnd/>
              <a:tailEnd/>
            </a:ln>
          </p:spPr>
          <p:txBody>
            <a:bodyPr/>
            <a:lstStyle/>
            <a:p>
              <a:endParaRPr lang="en-US"/>
            </a:p>
          </p:txBody>
        </p:sp>
        <p:sp>
          <p:nvSpPr>
            <p:cNvPr id="34919" name="Freeform 100"/>
            <p:cNvSpPr>
              <a:spLocks/>
            </p:cNvSpPr>
            <p:nvPr/>
          </p:nvSpPr>
          <p:spPr bwMode="auto">
            <a:xfrm>
              <a:off x="5570538" y="1033463"/>
              <a:ext cx="979488" cy="1524000"/>
            </a:xfrm>
            <a:custGeom>
              <a:avLst/>
              <a:gdLst>
                <a:gd name="T0" fmla="*/ 2147483647 w 801"/>
                <a:gd name="T1" fmla="*/ 2147483647 h 1272"/>
                <a:gd name="T2" fmla="*/ 2147483647 w 801"/>
                <a:gd name="T3" fmla="*/ 2147483647 h 1272"/>
                <a:gd name="T4" fmla="*/ 2147483647 w 801"/>
                <a:gd name="T5" fmla="*/ 2147483647 h 1272"/>
                <a:gd name="T6" fmla="*/ 2147483647 w 801"/>
                <a:gd name="T7" fmla="*/ 2147483647 h 1272"/>
                <a:gd name="T8" fmla="*/ 2147483647 w 801"/>
                <a:gd name="T9" fmla="*/ 2147483647 h 1272"/>
                <a:gd name="T10" fmla="*/ 2147483647 w 801"/>
                <a:gd name="T11" fmla="*/ 2147483647 h 1272"/>
                <a:gd name="T12" fmla="*/ 2147483647 w 801"/>
                <a:gd name="T13" fmla="*/ 2147483647 h 1272"/>
                <a:gd name="T14" fmla="*/ 2147483647 w 801"/>
                <a:gd name="T15" fmla="*/ 2147483647 h 1272"/>
                <a:gd name="T16" fmla="*/ 2147483647 w 801"/>
                <a:gd name="T17" fmla="*/ 0 h 1272"/>
                <a:gd name="T18" fmla="*/ 2147483647 w 801"/>
                <a:gd name="T19" fmla="*/ 2147483647 h 1272"/>
                <a:gd name="T20" fmla="*/ 2147483647 w 801"/>
                <a:gd name="T21" fmla="*/ 2147483647 h 1272"/>
                <a:gd name="T22" fmla="*/ 2147483647 w 801"/>
                <a:gd name="T23" fmla="*/ 2147483647 h 1272"/>
                <a:gd name="T24" fmla="*/ 2147483647 w 801"/>
                <a:gd name="T25" fmla="*/ 2147483647 h 1272"/>
                <a:gd name="T26" fmla="*/ 2147483647 w 801"/>
                <a:gd name="T27" fmla="*/ 2147483647 h 1272"/>
                <a:gd name="T28" fmla="*/ 2147483647 w 801"/>
                <a:gd name="T29" fmla="*/ 2147483647 h 1272"/>
                <a:gd name="T30" fmla="*/ 2147483647 w 801"/>
                <a:gd name="T31" fmla="*/ 2147483647 h 1272"/>
                <a:gd name="T32" fmla="*/ 2147483647 w 801"/>
                <a:gd name="T33" fmla="*/ 2147483647 h 1272"/>
                <a:gd name="T34" fmla="*/ 2147483647 w 801"/>
                <a:gd name="T35" fmla="*/ 2147483647 h 1272"/>
                <a:gd name="T36" fmla="*/ 2147483647 w 801"/>
                <a:gd name="T37" fmla="*/ 2147483647 h 1272"/>
                <a:gd name="T38" fmla="*/ 2147483647 w 801"/>
                <a:gd name="T39" fmla="*/ 2147483647 h 1272"/>
                <a:gd name="T40" fmla="*/ 2147483647 w 801"/>
                <a:gd name="T41" fmla="*/ 2147483647 h 1272"/>
                <a:gd name="T42" fmla="*/ 2147483647 w 801"/>
                <a:gd name="T43" fmla="*/ 2147483647 h 1272"/>
                <a:gd name="T44" fmla="*/ 2147483647 w 801"/>
                <a:gd name="T45" fmla="*/ 2147483647 h 1272"/>
                <a:gd name="T46" fmla="*/ 2147483647 w 801"/>
                <a:gd name="T47" fmla="*/ 2147483647 h 1272"/>
                <a:gd name="T48" fmla="*/ 2147483647 w 801"/>
                <a:gd name="T49" fmla="*/ 2147483647 h 1272"/>
                <a:gd name="T50" fmla="*/ 2147483647 w 801"/>
                <a:gd name="T51" fmla="*/ 2147483647 h 1272"/>
                <a:gd name="T52" fmla="*/ 2147483647 w 801"/>
                <a:gd name="T53" fmla="*/ 2147483647 h 1272"/>
                <a:gd name="T54" fmla="*/ 2147483647 w 801"/>
                <a:gd name="T55" fmla="*/ 2147483647 h 1272"/>
                <a:gd name="T56" fmla="*/ 2147483647 w 801"/>
                <a:gd name="T57" fmla="*/ 2147483647 h 1272"/>
                <a:gd name="T58" fmla="*/ 2147483647 w 801"/>
                <a:gd name="T59" fmla="*/ 2147483647 h 1272"/>
                <a:gd name="T60" fmla="*/ 2147483647 w 801"/>
                <a:gd name="T61" fmla="*/ 2147483647 h 1272"/>
                <a:gd name="T62" fmla="*/ 2147483647 w 801"/>
                <a:gd name="T63" fmla="*/ 2147483647 h 12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01"/>
                <a:gd name="T97" fmla="*/ 0 h 1272"/>
                <a:gd name="T98" fmla="*/ 801 w 801"/>
                <a:gd name="T99" fmla="*/ 1272 h 127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01" h="1272">
                  <a:moveTo>
                    <a:pt x="750" y="760"/>
                  </a:moveTo>
                  <a:lnTo>
                    <a:pt x="683" y="720"/>
                  </a:lnTo>
                  <a:lnTo>
                    <a:pt x="700" y="672"/>
                  </a:lnTo>
                  <a:lnTo>
                    <a:pt x="658" y="616"/>
                  </a:lnTo>
                  <a:lnTo>
                    <a:pt x="590" y="576"/>
                  </a:lnTo>
                  <a:lnTo>
                    <a:pt x="582" y="520"/>
                  </a:lnTo>
                  <a:lnTo>
                    <a:pt x="624" y="472"/>
                  </a:lnTo>
                  <a:lnTo>
                    <a:pt x="557" y="408"/>
                  </a:lnTo>
                  <a:lnTo>
                    <a:pt x="506" y="312"/>
                  </a:lnTo>
                  <a:lnTo>
                    <a:pt x="523" y="256"/>
                  </a:lnTo>
                  <a:lnTo>
                    <a:pt x="481" y="216"/>
                  </a:lnTo>
                  <a:lnTo>
                    <a:pt x="439" y="200"/>
                  </a:lnTo>
                  <a:lnTo>
                    <a:pt x="413" y="136"/>
                  </a:lnTo>
                  <a:lnTo>
                    <a:pt x="422" y="88"/>
                  </a:lnTo>
                  <a:lnTo>
                    <a:pt x="430" y="72"/>
                  </a:lnTo>
                  <a:lnTo>
                    <a:pt x="413" y="32"/>
                  </a:lnTo>
                  <a:lnTo>
                    <a:pt x="346" y="0"/>
                  </a:lnTo>
                  <a:lnTo>
                    <a:pt x="295" y="0"/>
                  </a:lnTo>
                  <a:lnTo>
                    <a:pt x="262" y="40"/>
                  </a:lnTo>
                  <a:lnTo>
                    <a:pt x="262" y="112"/>
                  </a:lnTo>
                  <a:lnTo>
                    <a:pt x="245" y="184"/>
                  </a:lnTo>
                  <a:lnTo>
                    <a:pt x="186" y="168"/>
                  </a:lnTo>
                  <a:lnTo>
                    <a:pt x="144" y="184"/>
                  </a:lnTo>
                  <a:lnTo>
                    <a:pt x="43" y="136"/>
                  </a:lnTo>
                  <a:lnTo>
                    <a:pt x="0" y="160"/>
                  </a:lnTo>
                  <a:lnTo>
                    <a:pt x="51" y="216"/>
                  </a:lnTo>
                  <a:lnTo>
                    <a:pt x="144" y="256"/>
                  </a:lnTo>
                  <a:lnTo>
                    <a:pt x="177" y="296"/>
                  </a:lnTo>
                  <a:lnTo>
                    <a:pt x="177" y="336"/>
                  </a:lnTo>
                  <a:lnTo>
                    <a:pt x="220" y="368"/>
                  </a:lnTo>
                  <a:lnTo>
                    <a:pt x="220" y="416"/>
                  </a:lnTo>
                  <a:lnTo>
                    <a:pt x="228" y="464"/>
                  </a:lnTo>
                  <a:lnTo>
                    <a:pt x="245" y="504"/>
                  </a:lnTo>
                  <a:lnTo>
                    <a:pt x="262" y="552"/>
                  </a:lnTo>
                  <a:lnTo>
                    <a:pt x="295" y="560"/>
                  </a:lnTo>
                  <a:lnTo>
                    <a:pt x="329" y="576"/>
                  </a:lnTo>
                  <a:lnTo>
                    <a:pt x="354" y="584"/>
                  </a:lnTo>
                  <a:lnTo>
                    <a:pt x="354" y="600"/>
                  </a:lnTo>
                  <a:lnTo>
                    <a:pt x="363" y="616"/>
                  </a:lnTo>
                  <a:lnTo>
                    <a:pt x="354" y="632"/>
                  </a:lnTo>
                  <a:lnTo>
                    <a:pt x="321" y="696"/>
                  </a:lnTo>
                  <a:lnTo>
                    <a:pt x="236" y="832"/>
                  </a:lnTo>
                  <a:lnTo>
                    <a:pt x="203" y="864"/>
                  </a:lnTo>
                  <a:lnTo>
                    <a:pt x="177" y="896"/>
                  </a:lnTo>
                  <a:lnTo>
                    <a:pt x="177" y="936"/>
                  </a:lnTo>
                  <a:lnTo>
                    <a:pt x="186" y="976"/>
                  </a:lnTo>
                  <a:lnTo>
                    <a:pt x="211" y="1048"/>
                  </a:lnTo>
                  <a:lnTo>
                    <a:pt x="228" y="1080"/>
                  </a:lnTo>
                  <a:lnTo>
                    <a:pt x="228" y="1120"/>
                  </a:lnTo>
                  <a:lnTo>
                    <a:pt x="236" y="1160"/>
                  </a:lnTo>
                  <a:lnTo>
                    <a:pt x="253" y="1192"/>
                  </a:lnTo>
                  <a:lnTo>
                    <a:pt x="287" y="1208"/>
                  </a:lnTo>
                  <a:lnTo>
                    <a:pt x="321" y="1224"/>
                  </a:lnTo>
                  <a:lnTo>
                    <a:pt x="312" y="1272"/>
                  </a:lnTo>
                  <a:lnTo>
                    <a:pt x="363" y="1272"/>
                  </a:lnTo>
                  <a:lnTo>
                    <a:pt x="380" y="1264"/>
                  </a:lnTo>
                  <a:lnTo>
                    <a:pt x="405" y="1248"/>
                  </a:lnTo>
                  <a:lnTo>
                    <a:pt x="506" y="1192"/>
                  </a:lnTo>
                  <a:lnTo>
                    <a:pt x="599" y="1152"/>
                  </a:lnTo>
                  <a:lnTo>
                    <a:pt x="675" y="1112"/>
                  </a:lnTo>
                  <a:lnTo>
                    <a:pt x="700" y="1016"/>
                  </a:lnTo>
                  <a:lnTo>
                    <a:pt x="750" y="944"/>
                  </a:lnTo>
                  <a:lnTo>
                    <a:pt x="793" y="872"/>
                  </a:lnTo>
                  <a:lnTo>
                    <a:pt x="801" y="808"/>
                  </a:lnTo>
                  <a:lnTo>
                    <a:pt x="750" y="76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20" name="Freeform 101"/>
            <p:cNvSpPr>
              <a:spLocks/>
            </p:cNvSpPr>
            <p:nvPr/>
          </p:nvSpPr>
          <p:spPr bwMode="auto">
            <a:xfrm>
              <a:off x="5045075" y="1243013"/>
              <a:ext cx="846138" cy="2032000"/>
            </a:xfrm>
            <a:custGeom>
              <a:avLst/>
              <a:gdLst>
                <a:gd name="T0" fmla="*/ 2147483647 w 691"/>
                <a:gd name="T1" fmla="*/ 2147483647 h 1696"/>
                <a:gd name="T2" fmla="*/ 2147483647 w 691"/>
                <a:gd name="T3" fmla="*/ 2147483647 h 1696"/>
                <a:gd name="T4" fmla="*/ 2147483647 w 691"/>
                <a:gd name="T5" fmla="*/ 2147483647 h 1696"/>
                <a:gd name="T6" fmla="*/ 2147483647 w 691"/>
                <a:gd name="T7" fmla="*/ 2147483647 h 1696"/>
                <a:gd name="T8" fmla="*/ 2147483647 w 691"/>
                <a:gd name="T9" fmla="*/ 2147483647 h 1696"/>
                <a:gd name="T10" fmla="*/ 2147483647 w 691"/>
                <a:gd name="T11" fmla="*/ 2147483647 h 1696"/>
                <a:gd name="T12" fmla="*/ 2147483647 w 691"/>
                <a:gd name="T13" fmla="*/ 2147483647 h 1696"/>
                <a:gd name="T14" fmla="*/ 2147483647 w 691"/>
                <a:gd name="T15" fmla="*/ 2147483647 h 1696"/>
                <a:gd name="T16" fmla="*/ 2147483647 w 691"/>
                <a:gd name="T17" fmla="*/ 2147483647 h 1696"/>
                <a:gd name="T18" fmla="*/ 2147483647 w 691"/>
                <a:gd name="T19" fmla="*/ 2147483647 h 1696"/>
                <a:gd name="T20" fmla="*/ 2147483647 w 691"/>
                <a:gd name="T21" fmla="*/ 2147483647 h 1696"/>
                <a:gd name="T22" fmla="*/ 2147483647 w 691"/>
                <a:gd name="T23" fmla="*/ 2147483647 h 1696"/>
                <a:gd name="T24" fmla="*/ 2147483647 w 691"/>
                <a:gd name="T25" fmla="*/ 2147483647 h 1696"/>
                <a:gd name="T26" fmla="*/ 2147483647 w 691"/>
                <a:gd name="T27" fmla="*/ 2147483647 h 1696"/>
                <a:gd name="T28" fmla="*/ 2147483647 w 691"/>
                <a:gd name="T29" fmla="*/ 2147483647 h 1696"/>
                <a:gd name="T30" fmla="*/ 2147483647 w 691"/>
                <a:gd name="T31" fmla="*/ 2147483647 h 1696"/>
                <a:gd name="T32" fmla="*/ 2147483647 w 691"/>
                <a:gd name="T33" fmla="*/ 2147483647 h 1696"/>
                <a:gd name="T34" fmla="*/ 2147483647 w 691"/>
                <a:gd name="T35" fmla="*/ 2147483647 h 1696"/>
                <a:gd name="T36" fmla="*/ 2147483647 w 691"/>
                <a:gd name="T37" fmla="*/ 2147483647 h 1696"/>
                <a:gd name="T38" fmla="*/ 2147483647 w 691"/>
                <a:gd name="T39" fmla="*/ 2147483647 h 1696"/>
                <a:gd name="T40" fmla="*/ 2147483647 w 691"/>
                <a:gd name="T41" fmla="*/ 2147483647 h 1696"/>
                <a:gd name="T42" fmla="*/ 2147483647 w 691"/>
                <a:gd name="T43" fmla="*/ 2147483647 h 1696"/>
                <a:gd name="T44" fmla="*/ 2147483647 w 691"/>
                <a:gd name="T45" fmla="*/ 2147483647 h 1696"/>
                <a:gd name="T46" fmla="*/ 2147483647 w 691"/>
                <a:gd name="T47" fmla="*/ 2147483647 h 1696"/>
                <a:gd name="T48" fmla="*/ 2147483647 w 691"/>
                <a:gd name="T49" fmla="*/ 2147483647 h 1696"/>
                <a:gd name="T50" fmla="*/ 2147483647 w 691"/>
                <a:gd name="T51" fmla="*/ 2147483647 h 1696"/>
                <a:gd name="T52" fmla="*/ 2147483647 w 691"/>
                <a:gd name="T53" fmla="*/ 2147483647 h 1696"/>
                <a:gd name="T54" fmla="*/ 2147483647 w 691"/>
                <a:gd name="T55" fmla="*/ 2147483647 h 1696"/>
                <a:gd name="T56" fmla="*/ 2147483647 w 691"/>
                <a:gd name="T57" fmla="*/ 2147483647 h 1696"/>
                <a:gd name="T58" fmla="*/ 2147483647 w 691"/>
                <a:gd name="T59" fmla="*/ 2147483647 h 1696"/>
                <a:gd name="T60" fmla="*/ 2147483647 w 691"/>
                <a:gd name="T61" fmla="*/ 2147483647 h 1696"/>
                <a:gd name="T62" fmla="*/ 2147483647 w 691"/>
                <a:gd name="T63" fmla="*/ 2147483647 h 1696"/>
                <a:gd name="T64" fmla="*/ 2147483647 w 691"/>
                <a:gd name="T65" fmla="*/ 2147483647 h 1696"/>
                <a:gd name="T66" fmla="*/ 2147483647 w 691"/>
                <a:gd name="T67" fmla="*/ 2147483647 h 1696"/>
                <a:gd name="T68" fmla="*/ 2147483647 w 691"/>
                <a:gd name="T69" fmla="*/ 2147483647 h 1696"/>
                <a:gd name="T70" fmla="*/ 2147483647 w 691"/>
                <a:gd name="T71" fmla="*/ 2147483647 h 1696"/>
                <a:gd name="T72" fmla="*/ 2147483647 w 691"/>
                <a:gd name="T73" fmla="*/ 2147483647 h 1696"/>
                <a:gd name="T74" fmla="*/ 2147483647 w 691"/>
                <a:gd name="T75" fmla="*/ 2147483647 h 1696"/>
                <a:gd name="T76" fmla="*/ 2147483647 w 691"/>
                <a:gd name="T77" fmla="*/ 2147483647 h 1696"/>
                <a:gd name="T78" fmla="*/ 2147483647 w 691"/>
                <a:gd name="T79" fmla="*/ 2147483647 h 1696"/>
                <a:gd name="T80" fmla="*/ 2147483647 w 691"/>
                <a:gd name="T81" fmla="*/ 2147483647 h 1696"/>
                <a:gd name="T82" fmla="*/ 2147483647 w 691"/>
                <a:gd name="T83" fmla="*/ 0 h 1696"/>
                <a:gd name="T84" fmla="*/ 2147483647 w 691"/>
                <a:gd name="T85" fmla="*/ 2147483647 h 16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91"/>
                <a:gd name="T130" fmla="*/ 0 h 1696"/>
                <a:gd name="T131" fmla="*/ 691 w 691"/>
                <a:gd name="T132" fmla="*/ 1696 h 16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91" h="1696">
                  <a:moveTo>
                    <a:pt x="429" y="88"/>
                  </a:moveTo>
                  <a:lnTo>
                    <a:pt x="354" y="72"/>
                  </a:lnTo>
                  <a:lnTo>
                    <a:pt x="337" y="128"/>
                  </a:lnTo>
                  <a:lnTo>
                    <a:pt x="295" y="128"/>
                  </a:lnTo>
                  <a:lnTo>
                    <a:pt x="261" y="168"/>
                  </a:lnTo>
                  <a:lnTo>
                    <a:pt x="261" y="216"/>
                  </a:lnTo>
                  <a:lnTo>
                    <a:pt x="269" y="256"/>
                  </a:lnTo>
                  <a:lnTo>
                    <a:pt x="210" y="312"/>
                  </a:lnTo>
                  <a:lnTo>
                    <a:pt x="210" y="376"/>
                  </a:lnTo>
                  <a:lnTo>
                    <a:pt x="168" y="400"/>
                  </a:lnTo>
                  <a:lnTo>
                    <a:pt x="168" y="496"/>
                  </a:lnTo>
                  <a:lnTo>
                    <a:pt x="118" y="576"/>
                  </a:lnTo>
                  <a:lnTo>
                    <a:pt x="160" y="600"/>
                  </a:lnTo>
                  <a:lnTo>
                    <a:pt x="143" y="656"/>
                  </a:lnTo>
                  <a:lnTo>
                    <a:pt x="67" y="664"/>
                  </a:lnTo>
                  <a:lnTo>
                    <a:pt x="33" y="736"/>
                  </a:lnTo>
                  <a:lnTo>
                    <a:pt x="50" y="856"/>
                  </a:lnTo>
                  <a:lnTo>
                    <a:pt x="50" y="936"/>
                  </a:lnTo>
                  <a:lnTo>
                    <a:pt x="92" y="976"/>
                  </a:lnTo>
                  <a:lnTo>
                    <a:pt x="92" y="1016"/>
                  </a:lnTo>
                  <a:lnTo>
                    <a:pt x="67" y="1056"/>
                  </a:lnTo>
                  <a:lnTo>
                    <a:pt x="67" y="1144"/>
                  </a:lnTo>
                  <a:lnTo>
                    <a:pt x="33" y="1176"/>
                  </a:lnTo>
                  <a:lnTo>
                    <a:pt x="17" y="1272"/>
                  </a:lnTo>
                  <a:lnTo>
                    <a:pt x="0" y="1280"/>
                  </a:lnTo>
                  <a:lnTo>
                    <a:pt x="8" y="1328"/>
                  </a:lnTo>
                  <a:lnTo>
                    <a:pt x="33" y="1352"/>
                  </a:lnTo>
                  <a:lnTo>
                    <a:pt x="42" y="1376"/>
                  </a:lnTo>
                  <a:lnTo>
                    <a:pt x="42" y="1440"/>
                  </a:lnTo>
                  <a:lnTo>
                    <a:pt x="84" y="1504"/>
                  </a:lnTo>
                  <a:lnTo>
                    <a:pt x="109" y="1536"/>
                  </a:lnTo>
                  <a:lnTo>
                    <a:pt x="118" y="1568"/>
                  </a:lnTo>
                  <a:lnTo>
                    <a:pt x="109" y="1592"/>
                  </a:lnTo>
                  <a:lnTo>
                    <a:pt x="109" y="1616"/>
                  </a:lnTo>
                  <a:lnTo>
                    <a:pt x="126" y="1632"/>
                  </a:lnTo>
                  <a:lnTo>
                    <a:pt x="135" y="1664"/>
                  </a:lnTo>
                  <a:lnTo>
                    <a:pt x="135" y="1696"/>
                  </a:lnTo>
                  <a:lnTo>
                    <a:pt x="202" y="1696"/>
                  </a:lnTo>
                  <a:lnTo>
                    <a:pt x="236" y="1680"/>
                  </a:lnTo>
                  <a:lnTo>
                    <a:pt x="244" y="1648"/>
                  </a:lnTo>
                  <a:lnTo>
                    <a:pt x="261" y="1616"/>
                  </a:lnTo>
                  <a:lnTo>
                    <a:pt x="286" y="1600"/>
                  </a:lnTo>
                  <a:lnTo>
                    <a:pt x="354" y="1608"/>
                  </a:lnTo>
                  <a:lnTo>
                    <a:pt x="387" y="1472"/>
                  </a:lnTo>
                  <a:lnTo>
                    <a:pt x="396" y="1440"/>
                  </a:lnTo>
                  <a:lnTo>
                    <a:pt x="387" y="1408"/>
                  </a:lnTo>
                  <a:lnTo>
                    <a:pt x="387" y="1368"/>
                  </a:lnTo>
                  <a:lnTo>
                    <a:pt x="396" y="1336"/>
                  </a:lnTo>
                  <a:lnTo>
                    <a:pt x="404" y="1296"/>
                  </a:lnTo>
                  <a:lnTo>
                    <a:pt x="421" y="1272"/>
                  </a:lnTo>
                  <a:lnTo>
                    <a:pt x="472" y="1240"/>
                  </a:lnTo>
                  <a:lnTo>
                    <a:pt x="497" y="1224"/>
                  </a:lnTo>
                  <a:lnTo>
                    <a:pt x="497" y="1192"/>
                  </a:lnTo>
                  <a:lnTo>
                    <a:pt x="505" y="1168"/>
                  </a:lnTo>
                  <a:lnTo>
                    <a:pt x="522" y="1144"/>
                  </a:lnTo>
                  <a:lnTo>
                    <a:pt x="480" y="1088"/>
                  </a:lnTo>
                  <a:lnTo>
                    <a:pt x="413" y="1048"/>
                  </a:lnTo>
                  <a:lnTo>
                    <a:pt x="396" y="1040"/>
                  </a:lnTo>
                  <a:lnTo>
                    <a:pt x="387" y="1024"/>
                  </a:lnTo>
                  <a:lnTo>
                    <a:pt x="387" y="984"/>
                  </a:lnTo>
                  <a:lnTo>
                    <a:pt x="379" y="904"/>
                  </a:lnTo>
                  <a:lnTo>
                    <a:pt x="387" y="832"/>
                  </a:lnTo>
                  <a:lnTo>
                    <a:pt x="429" y="760"/>
                  </a:lnTo>
                  <a:lnTo>
                    <a:pt x="480" y="704"/>
                  </a:lnTo>
                  <a:lnTo>
                    <a:pt x="539" y="648"/>
                  </a:lnTo>
                  <a:lnTo>
                    <a:pt x="556" y="624"/>
                  </a:lnTo>
                  <a:lnTo>
                    <a:pt x="564" y="584"/>
                  </a:lnTo>
                  <a:lnTo>
                    <a:pt x="581" y="560"/>
                  </a:lnTo>
                  <a:lnTo>
                    <a:pt x="581" y="536"/>
                  </a:lnTo>
                  <a:lnTo>
                    <a:pt x="573" y="496"/>
                  </a:lnTo>
                  <a:lnTo>
                    <a:pt x="581" y="464"/>
                  </a:lnTo>
                  <a:lnTo>
                    <a:pt x="606" y="424"/>
                  </a:lnTo>
                  <a:lnTo>
                    <a:pt x="615" y="384"/>
                  </a:lnTo>
                  <a:lnTo>
                    <a:pt x="682" y="376"/>
                  </a:lnTo>
                  <a:lnTo>
                    <a:pt x="691" y="376"/>
                  </a:lnTo>
                  <a:lnTo>
                    <a:pt x="674" y="328"/>
                  </a:lnTo>
                  <a:lnTo>
                    <a:pt x="657" y="288"/>
                  </a:lnTo>
                  <a:lnTo>
                    <a:pt x="649" y="240"/>
                  </a:lnTo>
                  <a:lnTo>
                    <a:pt x="649" y="192"/>
                  </a:lnTo>
                  <a:lnTo>
                    <a:pt x="606" y="160"/>
                  </a:lnTo>
                  <a:lnTo>
                    <a:pt x="606" y="120"/>
                  </a:lnTo>
                  <a:lnTo>
                    <a:pt x="573" y="80"/>
                  </a:lnTo>
                  <a:lnTo>
                    <a:pt x="480" y="40"/>
                  </a:lnTo>
                  <a:lnTo>
                    <a:pt x="446" y="0"/>
                  </a:lnTo>
                  <a:lnTo>
                    <a:pt x="429" y="8"/>
                  </a:lnTo>
                  <a:lnTo>
                    <a:pt x="429" y="8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21" name="Freeform 102"/>
            <p:cNvSpPr>
              <a:spLocks/>
            </p:cNvSpPr>
            <p:nvPr/>
          </p:nvSpPr>
          <p:spPr bwMode="auto">
            <a:xfrm>
              <a:off x="5570538" y="1023938"/>
              <a:ext cx="979488" cy="1524000"/>
            </a:xfrm>
            <a:custGeom>
              <a:avLst/>
              <a:gdLst>
                <a:gd name="T0" fmla="*/ 2147483647 w 801"/>
                <a:gd name="T1" fmla="*/ 2147483647 h 1272"/>
                <a:gd name="T2" fmla="*/ 2147483647 w 801"/>
                <a:gd name="T3" fmla="*/ 2147483647 h 1272"/>
                <a:gd name="T4" fmla="*/ 2147483647 w 801"/>
                <a:gd name="T5" fmla="*/ 2147483647 h 1272"/>
                <a:gd name="T6" fmla="*/ 2147483647 w 801"/>
                <a:gd name="T7" fmla="*/ 2147483647 h 1272"/>
                <a:gd name="T8" fmla="*/ 2147483647 w 801"/>
                <a:gd name="T9" fmla="*/ 2147483647 h 1272"/>
                <a:gd name="T10" fmla="*/ 2147483647 w 801"/>
                <a:gd name="T11" fmla="*/ 2147483647 h 1272"/>
                <a:gd name="T12" fmla="*/ 2147483647 w 801"/>
                <a:gd name="T13" fmla="*/ 2147483647 h 1272"/>
                <a:gd name="T14" fmla="*/ 2147483647 w 801"/>
                <a:gd name="T15" fmla="*/ 2147483647 h 1272"/>
                <a:gd name="T16" fmla="*/ 2147483647 w 801"/>
                <a:gd name="T17" fmla="*/ 0 h 1272"/>
                <a:gd name="T18" fmla="*/ 2147483647 w 801"/>
                <a:gd name="T19" fmla="*/ 2147483647 h 1272"/>
                <a:gd name="T20" fmla="*/ 2147483647 w 801"/>
                <a:gd name="T21" fmla="*/ 2147483647 h 1272"/>
                <a:gd name="T22" fmla="*/ 2147483647 w 801"/>
                <a:gd name="T23" fmla="*/ 2147483647 h 1272"/>
                <a:gd name="T24" fmla="*/ 2147483647 w 801"/>
                <a:gd name="T25" fmla="*/ 2147483647 h 1272"/>
                <a:gd name="T26" fmla="*/ 2147483647 w 801"/>
                <a:gd name="T27" fmla="*/ 2147483647 h 1272"/>
                <a:gd name="T28" fmla="*/ 2147483647 w 801"/>
                <a:gd name="T29" fmla="*/ 2147483647 h 1272"/>
                <a:gd name="T30" fmla="*/ 2147483647 w 801"/>
                <a:gd name="T31" fmla="*/ 2147483647 h 1272"/>
                <a:gd name="T32" fmla="*/ 2147483647 w 801"/>
                <a:gd name="T33" fmla="*/ 2147483647 h 1272"/>
                <a:gd name="T34" fmla="*/ 2147483647 w 801"/>
                <a:gd name="T35" fmla="*/ 2147483647 h 1272"/>
                <a:gd name="T36" fmla="*/ 2147483647 w 801"/>
                <a:gd name="T37" fmla="*/ 2147483647 h 1272"/>
                <a:gd name="T38" fmla="*/ 2147483647 w 801"/>
                <a:gd name="T39" fmla="*/ 2147483647 h 1272"/>
                <a:gd name="T40" fmla="*/ 2147483647 w 801"/>
                <a:gd name="T41" fmla="*/ 2147483647 h 1272"/>
                <a:gd name="T42" fmla="*/ 2147483647 w 801"/>
                <a:gd name="T43" fmla="*/ 2147483647 h 1272"/>
                <a:gd name="T44" fmla="*/ 2147483647 w 801"/>
                <a:gd name="T45" fmla="*/ 2147483647 h 1272"/>
                <a:gd name="T46" fmla="*/ 2147483647 w 801"/>
                <a:gd name="T47" fmla="*/ 2147483647 h 1272"/>
                <a:gd name="T48" fmla="*/ 2147483647 w 801"/>
                <a:gd name="T49" fmla="*/ 2147483647 h 1272"/>
                <a:gd name="T50" fmla="*/ 2147483647 w 801"/>
                <a:gd name="T51" fmla="*/ 2147483647 h 1272"/>
                <a:gd name="T52" fmla="*/ 2147483647 w 801"/>
                <a:gd name="T53" fmla="*/ 2147483647 h 1272"/>
                <a:gd name="T54" fmla="*/ 2147483647 w 801"/>
                <a:gd name="T55" fmla="*/ 2147483647 h 1272"/>
                <a:gd name="T56" fmla="*/ 2147483647 w 801"/>
                <a:gd name="T57" fmla="*/ 2147483647 h 1272"/>
                <a:gd name="T58" fmla="*/ 2147483647 w 801"/>
                <a:gd name="T59" fmla="*/ 2147483647 h 1272"/>
                <a:gd name="T60" fmla="*/ 2147483647 w 801"/>
                <a:gd name="T61" fmla="*/ 2147483647 h 1272"/>
                <a:gd name="T62" fmla="*/ 2147483647 w 801"/>
                <a:gd name="T63" fmla="*/ 2147483647 h 12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01"/>
                <a:gd name="T97" fmla="*/ 0 h 1272"/>
                <a:gd name="T98" fmla="*/ 801 w 801"/>
                <a:gd name="T99" fmla="*/ 1272 h 127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01" h="1272">
                  <a:moveTo>
                    <a:pt x="750" y="760"/>
                  </a:moveTo>
                  <a:lnTo>
                    <a:pt x="683" y="720"/>
                  </a:lnTo>
                  <a:lnTo>
                    <a:pt x="700" y="672"/>
                  </a:lnTo>
                  <a:lnTo>
                    <a:pt x="658" y="616"/>
                  </a:lnTo>
                  <a:lnTo>
                    <a:pt x="590" y="576"/>
                  </a:lnTo>
                  <a:lnTo>
                    <a:pt x="582" y="520"/>
                  </a:lnTo>
                  <a:lnTo>
                    <a:pt x="624" y="472"/>
                  </a:lnTo>
                  <a:lnTo>
                    <a:pt x="557" y="408"/>
                  </a:lnTo>
                  <a:lnTo>
                    <a:pt x="506" y="312"/>
                  </a:lnTo>
                  <a:lnTo>
                    <a:pt x="523" y="256"/>
                  </a:lnTo>
                  <a:lnTo>
                    <a:pt x="481" y="216"/>
                  </a:lnTo>
                  <a:lnTo>
                    <a:pt x="439" y="200"/>
                  </a:lnTo>
                  <a:lnTo>
                    <a:pt x="413" y="136"/>
                  </a:lnTo>
                  <a:lnTo>
                    <a:pt x="422" y="88"/>
                  </a:lnTo>
                  <a:lnTo>
                    <a:pt x="430" y="72"/>
                  </a:lnTo>
                  <a:lnTo>
                    <a:pt x="413" y="32"/>
                  </a:lnTo>
                  <a:lnTo>
                    <a:pt x="346" y="0"/>
                  </a:lnTo>
                  <a:lnTo>
                    <a:pt x="295" y="0"/>
                  </a:lnTo>
                  <a:lnTo>
                    <a:pt x="262" y="40"/>
                  </a:lnTo>
                  <a:lnTo>
                    <a:pt x="262" y="112"/>
                  </a:lnTo>
                  <a:lnTo>
                    <a:pt x="245" y="184"/>
                  </a:lnTo>
                  <a:lnTo>
                    <a:pt x="186" y="168"/>
                  </a:lnTo>
                  <a:lnTo>
                    <a:pt x="144" y="184"/>
                  </a:lnTo>
                  <a:lnTo>
                    <a:pt x="43" y="136"/>
                  </a:lnTo>
                  <a:lnTo>
                    <a:pt x="0" y="160"/>
                  </a:lnTo>
                  <a:lnTo>
                    <a:pt x="51" y="216"/>
                  </a:lnTo>
                  <a:lnTo>
                    <a:pt x="144" y="256"/>
                  </a:lnTo>
                  <a:lnTo>
                    <a:pt x="177" y="296"/>
                  </a:lnTo>
                  <a:lnTo>
                    <a:pt x="177" y="336"/>
                  </a:lnTo>
                  <a:lnTo>
                    <a:pt x="220" y="368"/>
                  </a:lnTo>
                  <a:lnTo>
                    <a:pt x="220" y="416"/>
                  </a:lnTo>
                  <a:lnTo>
                    <a:pt x="228" y="464"/>
                  </a:lnTo>
                  <a:lnTo>
                    <a:pt x="245" y="504"/>
                  </a:lnTo>
                  <a:lnTo>
                    <a:pt x="262" y="552"/>
                  </a:lnTo>
                  <a:lnTo>
                    <a:pt x="295" y="560"/>
                  </a:lnTo>
                  <a:lnTo>
                    <a:pt x="329" y="576"/>
                  </a:lnTo>
                  <a:lnTo>
                    <a:pt x="354" y="584"/>
                  </a:lnTo>
                  <a:lnTo>
                    <a:pt x="354" y="600"/>
                  </a:lnTo>
                  <a:lnTo>
                    <a:pt x="363" y="616"/>
                  </a:lnTo>
                  <a:lnTo>
                    <a:pt x="354" y="632"/>
                  </a:lnTo>
                  <a:lnTo>
                    <a:pt x="321" y="696"/>
                  </a:lnTo>
                  <a:lnTo>
                    <a:pt x="236" y="832"/>
                  </a:lnTo>
                  <a:lnTo>
                    <a:pt x="203" y="864"/>
                  </a:lnTo>
                  <a:lnTo>
                    <a:pt x="177" y="896"/>
                  </a:lnTo>
                  <a:lnTo>
                    <a:pt x="177" y="936"/>
                  </a:lnTo>
                  <a:lnTo>
                    <a:pt x="186" y="976"/>
                  </a:lnTo>
                  <a:lnTo>
                    <a:pt x="211" y="1048"/>
                  </a:lnTo>
                  <a:lnTo>
                    <a:pt x="228" y="1080"/>
                  </a:lnTo>
                  <a:lnTo>
                    <a:pt x="228" y="1120"/>
                  </a:lnTo>
                  <a:lnTo>
                    <a:pt x="236" y="1160"/>
                  </a:lnTo>
                  <a:lnTo>
                    <a:pt x="253" y="1192"/>
                  </a:lnTo>
                  <a:lnTo>
                    <a:pt x="287" y="1208"/>
                  </a:lnTo>
                  <a:lnTo>
                    <a:pt x="321" y="1224"/>
                  </a:lnTo>
                  <a:lnTo>
                    <a:pt x="312" y="1272"/>
                  </a:lnTo>
                  <a:lnTo>
                    <a:pt x="363" y="1272"/>
                  </a:lnTo>
                  <a:lnTo>
                    <a:pt x="380" y="1264"/>
                  </a:lnTo>
                  <a:lnTo>
                    <a:pt x="405" y="1248"/>
                  </a:lnTo>
                  <a:lnTo>
                    <a:pt x="506" y="1192"/>
                  </a:lnTo>
                  <a:lnTo>
                    <a:pt x="599" y="1152"/>
                  </a:lnTo>
                  <a:lnTo>
                    <a:pt x="675" y="1112"/>
                  </a:lnTo>
                  <a:lnTo>
                    <a:pt x="700" y="1016"/>
                  </a:lnTo>
                  <a:lnTo>
                    <a:pt x="750" y="944"/>
                  </a:lnTo>
                  <a:lnTo>
                    <a:pt x="793" y="872"/>
                  </a:lnTo>
                  <a:lnTo>
                    <a:pt x="801" y="808"/>
                  </a:lnTo>
                  <a:lnTo>
                    <a:pt x="750" y="760"/>
                  </a:lnTo>
                  <a:close/>
                </a:path>
              </a:pathLst>
            </a:custGeom>
            <a:solidFill>
              <a:schemeClr val="bg1"/>
            </a:solidFill>
            <a:ln w="12700">
              <a:solidFill>
                <a:srgbClr val="000000"/>
              </a:solidFill>
              <a:round/>
              <a:headEnd/>
              <a:tailEnd/>
            </a:ln>
          </p:spPr>
          <p:txBody>
            <a:bodyPr/>
            <a:lstStyle/>
            <a:p>
              <a:endParaRPr lang="en-US"/>
            </a:p>
          </p:txBody>
        </p:sp>
        <p:sp>
          <p:nvSpPr>
            <p:cNvPr id="34922" name="Freeform 103"/>
            <p:cNvSpPr>
              <a:spLocks/>
            </p:cNvSpPr>
            <p:nvPr/>
          </p:nvSpPr>
          <p:spPr bwMode="auto">
            <a:xfrm>
              <a:off x="5045075" y="1233488"/>
              <a:ext cx="846138" cy="2032000"/>
            </a:xfrm>
            <a:custGeom>
              <a:avLst/>
              <a:gdLst>
                <a:gd name="T0" fmla="*/ 2147483647 w 691"/>
                <a:gd name="T1" fmla="*/ 2147483647 h 1696"/>
                <a:gd name="T2" fmla="*/ 2147483647 w 691"/>
                <a:gd name="T3" fmla="*/ 2147483647 h 1696"/>
                <a:gd name="T4" fmla="*/ 2147483647 w 691"/>
                <a:gd name="T5" fmla="*/ 2147483647 h 1696"/>
                <a:gd name="T6" fmla="*/ 2147483647 w 691"/>
                <a:gd name="T7" fmla="*/ 2147483647 h 1696"/>
                <a:gd name="T8" fmla="*/ 2147483647 w 691"/>
                <a:gd name="T9" fmla="*/ 2147483647 h 1696"/>
                <a:gd name="T10" fmla="*/ 2147483647 w 691"/>
                <a:gd name="T11" fmla="*/ 2147483647 h 1696"/>
                <a:gd name="T12" fmla="*/ 2147483647 w 691"/>
                <a:gd name="T13" fmla="*/ 2147483647 h 1696"/>
                <a:gd name="T14" fmla="*/ 2147483647 w 691"/>
                <a:gd name="T15" fmla="*/ 2147483647 h 1696"/>
                <a:gd name="T16" fmla="*/ 2147483647 w 691"/>
                <a:gd name="T17" fmla="*/ 2147483647 h 1696"/>
                <a:gd name="T18" fmla="*/ 2147483647 w 691"/>
                <a:gd name="T19" fmla="*/ 2147483647 h 1696"/>
                <a:gd name="T20" fmla="*/ 2147483647 w 691"/>
                <a:gd name="T21" fmla="*/ 2147483647 h 1696"/>
                <a:gd name="T22" fmla="*/ 2147483647 w 691"/>
                <a:gd name="T23" fmla="*/ 2147483647 h 1696"/>
                <a:gd name="T24" fmla="*/ 2147483647 w 691"/>
                <a:gd name="T25" fmla="*/ 2147483647 h 1696"/>
                <a:gd name="T26" fmla="*/ 2147483647 w 691"/>
                <a:gd name="T27" fmla="*/ 2147483647 h 1696"/>
                <a:gd name="T28" fmla="*/ 2147483647 w 691"/>
                <a:gd name="T29" fmla="*/ 2147483647 h 1696"/>
                <a:gd name="T30" fmla="*/ 2147483647 w 691"/>
                <a:gd name="T31" fmla="*/ 2147483647 h 1696"/>
                <a:gd name="T32" fmla="*/ 2147483647 w 691"/>
                <a:gd name="T33" fmla="*/ 2147483647 h 1696"/>
                <a:gd name="T34" fmla="*/ 2147483647 w 691"/>
                <a:gd name="T35" fmla="*/ 2147483647 h 1696"/>
                <a:gd name="T36" fmla="*/ 2147483647 w 691"/>
                <a:gd name="T37" fmla="*/ 2147483647 h 1696"/>
                <a:gd name="T38" fmla="*/ 2147483647 w 691"/>
                <a:gd name="T39" fmla="*/ 2147483647 h 1696"/>
                <a:gd name="T40" fmla="*/ 2147483647 w 691"/>
                <a:gd name="T41" fmla="*/ 2147483647 h 1696"/>
                <a:gd name="T42" fmla="*/ 2147483647 w 691"/>
                <a:gd name="T43" fmla="*/ 2147483647 h 1696"/>
                <a:gd name="T44" fmla="*/ 2147483647 w 691"/>
                <a:gd name="T45" fmla="*/ 2147483647 h 1696"/>
                <a:gd name="T46" fmla="*/ 2147483647 w 691"/>
                <a:gd name="T47" fmla="*/ 2147483647 h 1696"/>
                <a:gd name="T48" fmla="*/ 2147483647 w 691"/>
                <a:gd name="T49" fmla="*/ 2147483647 h 1696"/>
                <a:gd name="T50" fmla="*/ 2147483647 w 691"/>
                <a:gd name="T51" fmla="*/ 2147483647 h 1696"/>
                <a:gd name="T52" fmla="*/ 2147483647 w 691"/>
                <a:gd name="T53" fmla="*/ 2147483647 h 1696"/>
                <a:gd name="T54" fmla="*/ 2147483647 w 691"/>
                <a:gd name="T55" fmla="*/ 2147483647 h 1696"/>
                <a:gd name="T56" fmla="*/ 2147483647 w 691"/>
                <a:gd name="T57" fmla="*/ 2147483647 h 1696"/>
                <a:gd name="T58" fmla="*/ 2147483647 w 691"/>
                <a:gd name="T59" fmla="*/ 2147483647 h 1696"/>
                <a:gd name="T60" fmla="*/ 2147483647 w 691"/>
                <a:gd name="T61" fmla="*/ 2147483647 h 1696"/>
                <a:gd name="T62" fmla="*/ 2147483647 w 691"/>
                <a:gd name="T63" fmla="*/ 2147483647 h 1696"/>
                <a:gd name="T64" fmla="*/ 2147483647 w 691"/>
                <a:gd name="T65" fmla="*/ 2147483647 h 1696"/>
                <a:gd name="T66" fmla="*/ 2147483647 w 691"/>
                <a:gd name="T67" fmla="*/ 2147483647 h 1696"/>
                <a:gd name="T68" fmla="*/ 2147483647 w 691"/>
                <a:gd name="T69" fmla="*/ 2147483647 h 1696"/>
                <a:gd name="T70" fmla="*/ 2147483647 w 691"/>
                <a:gd name="T71" fmla="*/ 2147483647 h 1696"/>
                <a:gd name="T72" fmla="*/ 2147483647 w 691"/>
                <a:gd name="T73" fmla="*/ 2147483647 h 1696"/>
                <a:gd name="T74" fmla="*/ 2147483647 w 691"/>
                <a:gd name="T75" fmla="*/ 2147483647 h 1696"/>
                <a:gd name="T76" fmla="*/ 2147483647 w 691"/>
                <a:gd name="T77" fmla="*/ 2147483647 h 1696"/>
                <a:gd name="T78" fmla="*/ 2147483647 w 691"/>
                <a:gd name="T79" fmla="*/ 2147483647 h 1696"/>
                <a:gd name="T80" fmla="*/ 2147483647 w 691"/>
                <a:gd name="T81" fmla="*/ 2147483647 h 1696"/>
                <a:gd name="T82" fmla="*/ 2147483647 w 691"/>
                <a:gd name="T83" fmla="*/ 0 h 1696"/>
                <a:gd name="T84" fmla="*/ 2147483647 w 691"/>
                <a:gd name="T85" fmla="*/ 2147483647 h 16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91"/>
                <a:gd name="T130" fmla="*/ 0 h 1696"/>
                <a:gd name="T131" fmla="*/ 691 w 691"/>
                <a:gd name="T132" fmla="*/ 1696 h 16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91" h="1696">
                  <a:moveTo>
                    <a:pt x="429" y="88"/>
                  </a:moveTo>
                  <a:lnTo>
                    <a:pt x="354" y="72"/>
                  </a:lnTo>
                  <a:lnTo>
                    <a:pt x="337" y="128"/>
                  </a:lnTo>
                  <a:lnTo>
                    <a:pt x="295" y="128"/>
                  </a:lnTo>
                  <a:lnTo>
                    <a:pt x="261" y="168"/>
                  </a:lnTo>
                  <a:lnTo>
                    <a:pt x="261" y="216"/>
                  </a:lnTo>
                  <a:lnTo>
                    <a:pt x="269" y="256"/>
                  </a:lnTo>
                  <a:lnTo>
                    <a:pt x="210" y="312"/>
                  </a:lnTo>
                  <a:lnTo>
                    <a:pt x="210" y="376"/>
                  </a:lnTo>
                  <a:lnTo>
                    <a:pt x="168" y="400"/>
                  </a:lnTo>
                  <a:lnTo>
                    <a:pt x="168" y="496"/>
                  </a:lnTo>
                  <a:lnTo>
                    <a:pt x="118" y="576"/>
                  </a:lnTo>
                  <a:lnTo>
                    <a:pt x="160" y="600"/>
                  </a:lnTo>
                  <a:lnTo>
                    <a:pt x="143" y="656"/>
                  </a:lnTo>
                  <a:lnTo>
                    <a:pt x="67" y="664"/>
                  </a:lnTo>
                  <a:lnTo>
                    <a:pt x="33" y="736"/>
                  </a:lnTo>
                  <a:lnTo>
                    <a:pt x="50" y="856"/>
                  </a:lnTo>
                  <a:lnTo>
                    <a:pt x="50" y="936"/>
                  </a:lnTo>
                  <a:lnTo>
                    <a:pt x="92" y="976"/>
                  </a:lnTo>
                  <a:lnTo>
                    <a:pt x="92" y="1016"/>
                  </a:lnTo>
                  <a:lnTo>
                    <a:pt x="67" y="1056"/>
                  </a:lnTo>
                  <a:lnTo>
                    <a:pt x="67" y="1144"/>
                  </a:lnTo>
                  <a:lnTo>
                    <a:pt x="33" y="1176"/>
                  </a:lnTo>
                  <a:lnTo>
                    <a:pt x="17" y="1272"/>
                  </a:lnTo>
                  <a:lnTo>
                    <a:pt x="0" y="1280"/>
                  </a:lnTo>
                  <a:lnTo>
                    <a:pt x="8" y="1328"/>
                  </a:lnTo>
                  <a:lnTo>
                    <a:pt x="33" y="1352"/>
                  </a:lnTo>
                  <a:lnTo>
                    <a:pt x="42" y="1376"/>
                  </a:lnTo>
                  <a:lnTo>
                    <a:pt x="42" y="1440"/>
                  </a:lnTo>
                  <a:lnTo>
                    <a:pt x="84" y="1504"/>
                  </a:lnTo>
                  <a:lnTo>
                    <a:pt x="109" y="1536"/>
                  </a:lnTo>
                  <a:lnTo>
                    <a:pt x="118" y="1568"/>
                  </a:lnTo>
                  <a:lnTo>
                    <a:pt x="109" y="1592"/>
                  </a:lnTo>
                  <a:lnTo>
                    <a:pt x="109" y="1616"/>
                  </a:lnTo>
                  <a:lnTo>
                    <a:pt x="126" y="1632"/>
                  </a:lnTo>
                  <a:lnTo>
                    <a:pt x="135" y="1664"/>
                  </a:lnTo>
                  <a:lnTo>
                    <a:pt x="135" y="1696"/>
                  </a:lnTo>
                  <a:lnTo>
                    <a:pt x="202" y="1696"/>
                  </a:lnTo>
                  <a:lnTo>
                    <a:pt x="236" y="1680"/>
                  </a:lnTo>
                  <a:lnTo>
                    <a:pt x="244" y="1648"/>
                  </a:lnTo>
                  <a:lnTo>
                    <a:pt x="261" y="1616"/>
                  </a:lnTo>
                  <a:lnTo>
                    <a:pt x="286" y="1600"/>
                  </a:lnTo>
                  <a:lnTo>
                    <a:pt x="354" y="1608"/>
                  </a:lnTo>
                  <a:lnTo>
                    <a:pt x="387" y="1472"/>
                  </a:lnTo>
                  <a:lnTo>
                    <a:pt x="396" y="1440"/>
                  </a:lnTo>
                  <a:lnTo>
                    <a:pt x="387" y="1408"/>
                  </a:lnTo>
                  <a:lnTo>
                    <a:pt x="387" y="1368"/>
                  </a:lnTo>
                  <a:lnTo>
                    <a:pt x="396" y="1336"/>
                  </a:lnTo>
                  <a:lnTo>
                    <a:pt x="404" y="1296"/>
                  </a:lnTo>
                  <a:lnTo>
                    <a:pt x="421" y="1272"/>
                  </a:lnTo>
                  <a:lnTo>
                    <a:pt x="472" y="1240"/>
                  </a:lnTo>
                  <a:lnTo>
                    <a:pt x="497" y="1224"/>
                  </a:lnTo>
                  <a:lnTo>
                    <a:pt x="497" y="1192"/>
                  </a:lnTo>
                  <a:lnTo>
                    <a:pt x="505" y="1168"/>
                  </a:lnTo>
                  <a:lnTo>
                    <a:pt x="522" y="1144"/>
                  </a:lnTo>
                  <a:lnTo>
                    <a:pt x="480" y="1088"/>
                  </a:lnTo>
                  <a:lnTo>
                    <a:pt x="413" y="1048"/>
                  </a:lnTo>
                  <a:lnTo>
                    <a:pt x="396" y="1040"/>
                  </a:lnTo>
                  <a:lnTo>
                    <a:pt x="387" y="1024"/>
                  </a:lnTo>
                  <a:lnTo>
                    <a:pt x="387" y="984"/>
                  </a:lnTo>
                  <a:lnTo>
                    <a:pt x="379" y="904"/>
                  </a:lnTo>
                  <a:lnTo>
                    <a:pt x="387" y="832"/>
                  </a:lnTo>
                  <a:lnTo>
                    <a:pt x="429" y="760"/>
                  </a:lnTo>
                  <a:lnTo>
                    <a:pt x="480" y="704"/>
                  </a:lnTo>
                  <a:lnTo>
                    <a:pt x="539" y="648"/>
                  </a:lnTo>
                  <a:lnTo>
                    <a:pt x="556" y="624"/>
                  </a:lnTo>
                  <a:lnTo>
                    <a:pt x="564" y="584"/>
                  </a:lnTo>
                  <a:lnTo>
                    <a:pt x="581" y="560"/>
                  </a:lnTo>
                  <a:lnTo>
                    <a:pt x="581" y="536"/>
                  </a:lnTo>
                  <a:lnTo>
                    <a:pt x="573" y="496"/>
                  </a:lnTo>
                  <a:lnTo>
                    <a:pt x="581" y="464"/>
                  </a:lnTo>
                  <a:lnTo>
                    <a:pt x="606" y="424"/>
                  </a:lnTo>
                  <a:lnTo>
                    <a:pt x="615" y="384"/>
                  </a:lnTo>
                  <a:lnTo>
                    <a:pt x="682" y="376"/>
                  </a:lnTo>
                  <a:lnTo>
                    <a:pt x="691" y="376"/>
                  </a:lnTo>
                  <a:lnTo>
                    <a:pt x="674" y="328"/>
                  </a:lnTo>
                  <a:lnTo>
                    <a:pt x="657" y="288"/>
                  </a:lnTo>
                  <a:lnTo>
                    <a:pt x="649" y="240"/>
                  </a:lnTo>
                  <a:lnTo>
                    <a:pt x="649" y="192"/>
                  </a:lnTo>
                  <a:lnTo>
                    <a:pt x="606" y="160"/>
                  </a:lnTo>
                  <a:lnTo>
                    <a:pt x="606" y="120"/>
                  </a:lnTo>
                  <a:lnTo>
                    <a:pt x="573" y="80"/>
                  </a:lnTo>
                  <a:lnTo>
                    <a:pt x="480" y="40"/>
                  </a:lnTo>
                  <a:lnTo>
                    <a:pt x="446" y="0"/>
                  </a:lnTo>
                  <a:lnTo>
                    <a:pt x="429" y="8"/>
                  </a:lnTo>
                  <a:lnTo>
                    <a:pt x="429" y="88"/>
                  </a:lnTo>
                  <a:close/>
                </a:path>
              </a:pathLst>
            </a:custGeom>
            <a:solidFill>
              <a:schemeClr val="bg1"/>
            </a:solidFill>
            <a:ln w="12700">
              <a:solidFill>
                <a:srgbClr val="000000"/>
              </a:solidFill>
              <a:round/>
              <a:headEnd/>
              <a:tailEnd/>
            </a:ln>
          </p:spPr>
          <p:txBody>
            <a:bodyPr/>
            <a:lstStyle/>
            <a:p>
              <a:endParaRPr lang="en-US"/>
            </a:p>
          </p:txBody>
        </p:sp>
        <p:sp>
          <p:nvSpPr>
            <p:cNvPr id="34923" name="Freeform 104"/>
            <p:cNvSpPr>
              <a:spLocks/>
            </p:cNvSpPr>
            <p:nvPr/>
          </p:nvSpPr>
          <p:spPr bwMode="auto">
            <a:xfrm>
              <a:off x="4529138" y="869950"/>
              <a:ext cx="1639888" cy="2022475"/>
            </a:xfrm>
            <a:custGeom>
              <a:avLst/>
              <a:gdLst>
                <a:gd name="T0" fmla="*/ 2147483647 w 1340"/>
                <a:gd name="T1" fmla="*/ 2147483647 h 1688"/>
                <a:gd name="T2" fmla="*/ 2147483647 w 1340"/>
                <a:gd name="T3" fmla="*/ 2147483647 h 1688"/>
                <a:gd name="T4" fmla="*/ 2147483647 w 1340"/>
                <a:gd name="T5" fmla="*/ 0 h 1688"/>
                <a:gd name="T6" fmla="*/ 2147483647 w 1340"/>
                <a:gd name="T7" fmla="*/ 2147483647 h 1688"/>
                <a:gd name="T8" fmla="*/ 2147483647 w 1340"/>
                <a:gd name="T9" fmla="*/ 2147483647 h 1688"/>
                <a:gd name="T10" fmla="*/ 2147483647 w 1340"/>
                <a:gd name="T11" fmla="*/ 2147483647 h 1688"/>
                <a:gd name="T12" fmla="*/ 2147483647 w 1340"/>
                <a:gd name="T13" fmla="*/ 2147483647 h 1688"/>
                <a:gd name="T14" fmla="*/ 2147483647 w 1340"/>
                <a:gd name="T15" fmla="*/ 2147483647 h 1688"/>
                <a:gd name="T16" fmla="*/ 2147483647 w 1340"/>
                <a:gd name="T17" fmla="*/ 2147483647 h 1688"/>
                <a:gd name="T18" fmla="*/ 2147483647 w 1340"/>
                <a:gd name="T19" fmla="*/ 2147483647 h 1688"/>
                <a:gd name="T20" fmla="*/ 2147483647 w 1340"/>
                <a:gd name="T21" fmla="*/ 2147483647 h 1688"/>
                <a:gd name="T22" fmla="*/ 2147483647 w 1340"/>
                <a:gd name="T23" fmla="*/ 2147483647 h 1688"/>
                <a:gd name="T24" fmla="*/ 2147483647 w 1340"/>
                <a:gd name="T25" fmla="*/ 2147483647 h 1688"/>
                <a:gd name="T26" fmla="*/ 2147483647 w 1340"/>
                <a:gd name="T27" fmla="*/ 2147483647 h 1688"/>
                <a:gd name="T28" fmla="*/ 2147483647 w 1340"/>
                <a:gd name="T29" fmla="*/ 2147483647 h 1688"/>
                <a:gd name="T30" fmla="*/ 2147483647 w 1340"/>
                <a:gd name="T31" fmla="*/ 2147483647 h 1688"/>
                <a:gd name="T32" fmla="*/ 2147483647 w 1340"/>
                <a:gd name="T33" fmla="*/ 2147483647 h 1688"/>
                <a:gd name="T34" fmla="*/ 2147483647 w 1340"/>
                <a:gd name="T35" fmla="*/ 2147483647 h 1688"/>
                <a:gd name="T36" fmla="*/ 2147483647 w 1340"/>
                <a:gd name="T37" fmla="*/ 2147483647 h 1688"/>
                <a:gd name="T38" fmla="*/ 2147483647 w 1340"/>
                <a:gd name="T39" fmla="*/ 2147483647 h 1688"/>
                <a:gd name="T40" fmla="*/ 2147483647 w 1340"/>
                <a:gd name="T41" fmla="*/ 2147483647 h 1688"/>
                <a:gd name="T42" fmla="*/ 2147483647 w 1340"/>
                <a:gd name="T43" fmla="*/ 2147483647 h 1688"/>
                <a:gd name="T44" fmla="*/ 2147483647 w 1340"/>
                <a:gd name="T45" fmla="*/ 2147483647 h 1688"/>
                <a:gd name="T46" fmla="*/ 2147483647 w 1340"/>
                <a:gd name="T47" fmla="*/ 2147483647 h 1688"/>
                <a:gd name="T48" fmla="*/ 0 w 1340"/>
                <a:gd name="T49" fmla="*/ 2147483647 h 1688"/>
                <a:gd name="T50" fmla="*/ 2147483647 w 1340"/>
                <a:gd name="T51" fmla="*/ 2147483647 h 1688"/>
                <a:gd name="T52" fmla="*/ 2147483647 w 1340"/>
                <a:gd name="T53" fmla="*/ 2147483647 h 1688"/>
                <a:gd name="T54" fmla="*/ 2147483647 w 1340"/>
                <a:gd name="T55" fmla="*/ 2147483647 h 1688"/>
                <a:gd name="T56" fmla="*/ 2147483647 w 1340"/>
                <a:gd name="T57" fmla="*/ 2147483647 h 1688"/>
                <a:gd name="T58" fmla="*/ 2147483647 w 1340"/>
                <a:gd name="T59" fmla="*/ 2147483647 h 1688"/>
                <a:gd name="T60" fmla="*/ 2147483647 w 1340"/>
                <a:gd name="T61" fmla="*/ 2147483647 h 1688"/>
                <a:gd name="T62" fmla="*/ 2147483647 w 1340"/>
                <a:gd name="T63" fmla="*/ 2147483647 h 1688"/>
                <a:gd name="T64" fmla="*/ 2147483647 w 1340"/>
                <a:gd name="T65" fmla="*/ 2147483647 h 1688"/>
                <a:gd name="T66" fmla="*/ 2147483647 w 1340"/>
                <a:gd name="T67" fmla="*/ 2147483647 h 1688"/>
                <a:gd name="T68" fmla="*/ 2147483647 w 1340"/>
                <a:gd name="T69" fmla="*/ 2147483647 h 1688"/>
                <a:gd name="T70" fmla="*/ 2147483647 w 1340"/>
                <a:gd name="T71" fmla="*/ 2147483647 h 1688"/>
                <a:gd name="T72" fmla="*/ 2147483647 w 1340"/>
                <a:gd name="T73" fmla="*/ 2147483647 h 1688"/>
                <a:gd name="T74" fmla="*/ 2147483647 w 1340"/>
                <a:gd name="T75" fmla="*/ 2147483647 h 1688"/>
                <a:gd name="T76" fmla="*/ 2147483647 w 1340"/>
                <a:gd name="T77" fmla="*/ 2147483647 h 1688"/>
                <a:gd name="T78" fmla="*/ 2147483647 w 1340"/>
                <a:gd name="T79" fmla="*/ 2147483647 h 1688"/>
                <a:gd name="T80" fmla="*/ 2147483647 w 1340"/>
                <a:gd name="T81" fmla="*/ 2147483647 h 1688"/>
                <a:gd name="T82" fmla="*/ 2147483647 w 1340"/>
                <a:gd name="T83" fmla="*/ 2147483647 h 1688"/>
                <a:gd name="T84" fmla="*/ 2147483647 w 1340"/>
                <a:gd name="T85" fmla="*/ 2147483647 h 1688"/>
                <a:gd name="T86" fmla="*/ 2147483647 w 1340"/>
                <a:gd name="T87" fmla="*/ 2147483647 h 1688"/>
                <a:gd name="T88" fmla="*/ 2147483647 w 1340"/>
                <a:gd name="T89" fmla="*/ 2147483647 h 1688"/>
                <a:gd name="T90" fmla="*/ 2147483647 w 1340"/>
                <a:gd name="T91" fmla="*/ 2147483647 h 1688"/>
                <a:gd name="T92" fmla="*/ 2147483647 w 1340"/>
                <a:gd name="T93" fmla="*/ 2147483647 h 1688"/>
                <a:gd name="T94" fmla="*/ 2147483647 w 1340"/>
                <a:gd name="T95" fmla="*/ 2147483647 h 1688"/>
                <a:gd name="T96" fmla="*/ 2147483647 w 1340"/>
                <a:gd name="T97" fmla="*/ 2147483647 h 16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40"/>
                <a:gd name="T148" fmla="*/ 0 h 1688"/>
                <a:gd name="T149" fmla="*/ 1340 w 1340"/>
                <a:gd name="T150" fmla="*/ 1688 h 16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40" h="1688">
                  <a:moveTo>
                    <a:pt x="1239" y="104"/>
                  </a:moveTo>
                  <a:lnTo>
                    <a:pt x="1281" y="80"/>
                  </a:lnTo>
                  <a:lnTo>
                    <a:pt x="1323" y="40"/>
                  </a:lnTo>
                  <a:lnTo>
                    <a:pt x="1239" y="16"/>
                  </a:lnTo>
                  <a:lnTo>
                    <a:pt x="1214" y="8"/>
                  </a:lnTo>
                  <a:lnTo>
                    <a:pt x="1205" y="24"/>
                  </a:lnTo>
                  <a:lnTo>
                    <a:pt x="1180" y="56"/>
                  </a:lnTo>
                  <a:lnTo>
                    <a:pt x="1172" y="16"/>
                  </a:lnTo>
                  <a:lnTo>
                    <a:pt x="1172" y="0"/>
                  </a:lnTo>
                  <a:lnTo>
                    <a:pt x="1146" y="0"/>
                  </a:lnTo>
                  <a:lnTo>
                    <a:pt x="1130" y="0"/>
                  </a:lnTo>
                  <a:lnTo>
                    <a:pt x="1130" y="24"/>
                  </a:lnTo>
                  <a:lnTo>
                    <a:pt x="1130" y="64"/>
                  </a:lnTo>
                  <a:lnTo>
                    <a:pt x="1104" y="24"/>
                  </a:lnTo>
                  <a:lnTo>
                    <a:pt x="1071" y="120"/>
                  </a:lnTo>
                  <a:lnTo>
                    <a:pt x="1062" y="48"/>
                  </a:lnTo>
                  <a:lnTo>
                    <a:pt x="1037" y="24"/>
                  </a:lnTo>
                  <a:lnTo>
                    <a:pt x="1012" y="40"/>
                  </a:lnTo>
                  <a:lnTo>
                    <a:pt x="961" y="80"/>
                  </a:lnTo>
                  <a:lnTo>
                    <a:pt x="953" y="112"/>
                  </a:lnTo>
                  <a:lnTo>
                    <a:pt x="961" y="136"/>
                  </a:lnTo>
                  <a:lnTo>
                    <a:pt x="902" y="144"/>
                  </a:lnTo>
                  <a:lnTo>
                    <a:pt x="885" y="160"/>
                  </a:lnTo>
                  <a:lnTo>
                    <a:pt x="877" y="184"/>
                  </a:lnTo>
                  <a:lnTo>
                    <a:pt x="851" y="192"/>
                  </a:lnTo>
                  <a:lnTo>
                    <a:pt x="826" y="192"/>
                  </a:lnTo>
                  <a:lnTo>
                    <a:pt x="809" y="176"/>
                  </a:lnTo>
                  <a:lnTo>
                    <a:pt x="784" y="176"/>
                  </a:lnTo>
                  <a:lnTo>
                    <a:pt x="750" y="208"/>
                  </a:lnTo>
                  <a:lnTo>
                    <a:pt x="717" y="248"/>
                  </a:lnTo>
                  <a:lnTo>
                    <a:pt x="683" y="296"/>
                  </a:lnTo>
                  <a:lnTo>
                    <a:pt x="683" y="320"/>
                  </a:lnTo>
                  <a:lnTo>
                    <a:pt x="700" y="328"/>
                  </a:lnTo>
                  <a:lnTo>
                    <a:pt x="659" y="374"/>
                  </a:lnTo>
                  <a:lnTo>
                    <a:pt x="641" y="368"/>
                  </a:lnTo>
                  <a:lnTo>
                    <a:pt x="645" y="418"/>
                  </a:lnTo>
                  <a:lnTo>
                    <a:pt x="616" y="456"/>
                  </a:lnTo>
                  <a:lnTo>
                    <a:pt x="599" y="480"/>
                  </a:lnTo>
                  <a:lnTo>
                    <a:pt x="590" y="504"/>
                  </a:lnTo>
                  <a:lnTo>
                    <a:pt x="607" y="520"/>
                  </a:lnTo>
                  <a:lnTo>
                    <a:pt x="573" y="536"/>
                  </a:lnTo>
                  <a:lnTo>
                    <a:pt x="565" y="560"/>
                  </a:lnTo>
                  <a:lnTo>
                    <a:pt x="540" y="576"/>
                  </a:lnTo>
                  <a:lnTo>
                    <a:pt x="523" y="624"/>
                  </a:lnTo>
                  <a:lnTo>
                    <a:pt x="472" y="744"/>
                  </a:lnTo>
                  <a:lnTo>
                    <a:pt x="455" y="816"/>
                  </a:lnTo>
                  <a:lnTo>
                    <a:pt x="439" y="840"/>
                  </a:lnTo>
                  <a:lnTo>
                    <a:pt x="396" y="848"/>
                  </a:lnTo>
                  <a:lnTo>
                    <a:pt x="405" y="872"/>
                  </a:lnTo>
                  <a:lnTo>
                    <a:pt x="413" y="888"/>
                  </a:lnTo>
                  <a:lnTo>
                    <a:pt x="396" y="896"/>
                  </a:lnTo>
                  <a:lnTo>
                    <a:pt x="346" y="952"/>
                  </a:lnTo>
                  <a:lnTo>
                    <a:pt x="321" y="1008"/>
                  </a:lnTo>
                  <a:lnTo>
                    <a:pt x="304" y="1024"/>
                  </a:lnTo>
                  <a:lnTo>
                    <a:pt x="295" y="1032"/>
                  </a:lnTo>
                  <a:lnTo>
                    <a:pt x="262" y="1024"/>
                  </a:lnTo>
                  <a:lnTo>
                    <a:pt x="236" y="1032"/>
                  </a:lnTo>
                  <a:lnTo>
                    <a:pt x="228" y="1040"/>
                  </a:lnTo>
                  <a:lnTo>
                    <a:pt x="220" y="1064"/>
                  </a:lnTo>
                  <a:lnTo>
                    <a:pt x="186" y="1088"/>
                  </a:lnTo>
                  <a:lnTo>
                    <a:pt x="152" y="1104"/>
                  </a:lnTo>
                  <a:lnTo>
                    <a:pt x="127" y="1128"/>
                  </a:lnTo>
                  <a:lnTo>
                    <a:pt x="93" y="1144"/>
                  </a:lnTo>
                  <a:lnTo>
                    <a:pt x="68" y="1168"/>
                  </a:lnTo>
                  <a:lnTo>
                    <a:pt x="51" y="1192"/>
                  </a:lnTo>
                  <a:lnTo>
                    <a:pt x="26" y="1200"/>
                  </a:lnTo>
                  <a:lnTo>
                    <a:pt x="17" y="1208"/>
                  </a:lnTo>
                  <a:lnTo>
                    <a:pt x="17" y="1248"/>
                  </a:lnTo>
                  <a:lnTo>
                    <a:pt x="9" y="1264"/>
                  </a:lnTo>
                  <a:lnTo>
                    <a:pt x="17" y="1272"/>
                  </a:lnTo>
                  <a:lnTo>
                    <a:pt x="17" y="1288"/>
                  </a:lnTo>
                  <a:lnTo>
                    <a:pt x="9" y="1304"/>
                  </a:lnTo>
                  <a:lnTo>
                    <a:pt x="17" y="1312"/>
                  </a:lnTo>
                  <a:lnTo>
                    <a:pt x="17" y="1328"/>
                  </a:lnTo>
                  <a:lnTo>
                    <a:pt x="0" y="1352"/>
                  </a:lnTo>
                  <a:lnTo>
                    <a:pt x="17" y="1384"/>
                  </a:lnTo>
                  <a:lnTo>
                    <a:pt x="43" y="1408"/>
                  </a:lnTo>
                  <a:lnTo>
                    <a:pt x="9" y="1424"/>
                  </a:lnTo>
                  <a:lnTo>
                    <a:pt x="34" y="1432"/>
                  </a:lnTo>
                  <a:lnTo>
                    <a:pt x="9" y="1480"/>
                  </a:lnTo>
                  <a:lnTo>
                    <a:pt x="51" y="1464"/>
                  </a:lnTo>
                  <a:lnTo>
                    <a:pt x="51" y="1480"/>
                  </a:lnTo>
                  <a:lnTo>
                    <a:pt x="43" y="1488"/>
                  </a:lnTo>
                  <a:lnTo>
                    <a:pt x="17" y="1512"/>
                  </a:lnTo>
                  <a:lnTo>
                    <a:pt x="17" y="1544"/>
                  </a:lnTo>
                  <a:lnTo>
                    <a:pt x="43" y="1544"/>
                  </a:lnTo>
                  <a:lnTo>
                    <a:pt x="59" y="1552"/>
                  </a:lnTo>
                  <a:lnTo>
                    <a:pt x="59" y="1568"/>
                  </a:lnTo>
                  <a:lnTo>
                    <a:pt x="34" y="1584"/>
                  </a:lnTo>
                  <a:lnTo>
                    <a:pt x="17" y="1584"/>
                  </a:lnTo>
                  <a:lnTo>
                    <a:pt x="9" y="1592"/>
                  </a:lnTo>
                  <a:lnTo>
                    <a:pt x="26" y="1616"/>
                  </a:lnTo>
                  <a:lnTo>
                    <a:pt x="51" y="1632"/>
                  </a:lnTo>
                  <a:lnTo>
                    <a:pt x="76" y="1656"/>
                  </a:lnTo>
                  <a:lnTo>
                    <a:pt x="118" y="1664"/>
                  </a:lnTo>
                  <a:lnTo>
                    <a:pt x="102" y="1688"/>
                  </a:lnTo>
                  <a:lnTo>
                    <a:pt x="177" y="1688"/>
                  </a:lnTo>
                  <a:lnTo>
                    <a:pt x="236" y="1664"/>
                  </a:lnTo>
                  <a:lnTo>
                    <a:pt x="278" y="1624"/>
                  </a:lnTo>
                  <a:lnTo>
                    <a:pt x="312" y="1576"/>
                  </a:lnTo>
                  <a:lnTo>
                    <a:pt x="329" y="1584"/>
                  </a:lnTo>
                  <a:lnTo>
                    <a:pt x="346" y="1576"/>
                  </a:lnTo>
                  <a:lnTo>
                    <a:pt x="363" y="1544"/>
                  </a:lnTo>
                  <a:lnTo>
                    <a:pt x="363" y="1512"/>
                  </a:lnTo>
                  <a:lnTo>
                    <a:pt x="388" y="1512"/>
                  </a:lnTo>
                  <a:lnTo>
                    <a:pt x="396" y="1528"/>
                  </a:lnTo>
                  <a:lnTo>
                    <a:pt x="405" y="1560"/>
                  </a:lnTo>
                  <a:lnTo>
                    <a:pt x="422" y="1592"/>
                  </a:lnTo>
                  <a:lnTo>
                    <a:pt x="439" y="1584"/>
                  </a:lnTo>
                  <a:lnTo>
                    <a:pt x="455" y="1488"/>
                  </a:lnTo>
                  <a:lnTo>
                    <a:pt x="489" y="1456"/>
                  </a:lnTo>
                  <a:lnTo>
                    <a:pt x="489" y="1368"/>
                  </a:lnTo>
                  <a:lnTo>
                    <a:pt x="514" y="1328"/>
                  </a:lnTo>
                  <a:lnTo>
                    <a:pt x="514" y="1288"/>
                  </a:lnTo>
                  <a:lnTo>
                    <a:pt x="472" y="1248"/>
                  </a:lnTo>
                  <a:lnTo>
                    <a:pt x="472" y="1168"/>
                  </a:lnTo>
                  <a:lnTo>
                    <a:pt x="455" y="1048"/>
                  </a:lnTo>
                  <a:lnTo>
                    <a:pt x="489" y="976"/>
                  </a:lnTo>
                  <a:lnTo>
                    <a:pt x="565" y="968"/>
                  </a:lnTo>
                  <a:lnTo>
                    <a:pt x="582" y="912"/>
                  </a:lnTo>
                  <a:lnTo>
                    <a:pt x="540" y="888"/>
                  </a:lnTo>
                  <a:lnTo>
                    <a:pt x="590" y="808"/>
                  </a:lnTo>
                  <a:lnTo>
                    <a:pt x="590" y="712"/>
                  </a:lnTo>
                  <a:lnTo>
                    <a:pt x="632" y="688"/>
                  </a:lnTo>
                  <a:lnTo>
                    <a:pt x="632" y="624"/>
                  </a:lnTo>
                  <a:lnTo>
                    <a:pt x="691" y="568"/>
                  </a:lnTo>
                  <a:lnTo>
                    <a:pt x="683" y="528"/>
                  </a:lnTo>
                  <a:lnTo>
                    <a:pt x="683" y="480"/>
                  </a:lnTo>
                  <a:lnTo>
                    <a:pt x="717" y="440"/>
                  </a:lnTo>
                  <a:lnTo>
                    <a:pt x="759" y="440"/>
                  </a:lnTo>
                  <a:lnTo>
                    <a:pt x="776" y="384"/>
                  </a:lnTo>
                  <a:lnTo>
                    <a:pt x="851" y="400"/>
                  </a:lnTo>
                  <a:lnTo>
                    <a:pt x="851" y="320"/>
                  </a:lnTo>
                  <a:lnTo>
                    <a:pt x="868" y="312"/>
                  </a:lnTo>
                  <a:lnTo>
                    <a:pt x="851" y="296"/>
                  </a:lnTo>
                  <a:lnTo>
                    <a:pt x="894" y="272"/>
                  </a:lnTo>
                  <a:lnTo>
                    <a:pt x="995" y="320"/>
                  </a:lnTo>
                  <a:lnTo>
                    <a:pt x="1037" y="304"/>
                  </a:lnTo>
                  <a:lnTo>
                    <a:pt x="1096" y="320"/>
                  </a:lnTo>
                  <a:lnTo>
                    <a:pt x="1113" y="248"/>
                  </a:lnTo>
                  <a:lnTo>
                    <a:pt x="1113" y="176"/>
                  </a:lnTo>
                  <a:lnTo>
                    <a:pt x="1146" y="136"/>
                  </a:lnTo>
                  <a:lnTo>
                    <a:pt x="1197" y="136"/>
                  </a:lnTo>
                  <a:lnTo>
                    <a:pt x="1264" y="168"/>
                  </a:lnTo>
                  <a:lnTo>
                    <a:pt x="1281" y="208"/>
                  </a:lnTo>
                  <a:lnTo>
                    <a:pt x="1306" y="176"/>
                  </a:lnTo>
                  <a:lnTo>
                    <a:pt x="1340" y="144"/>
                  </a:lnTo>
                  <a:lnTo>
                    <a:pt x="1340" y="120"/>
                  </a:lnTo>
                  <a:lnTo>
                    <a:pt x="1239" y="10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4924" name="Freeform 105"/>
            <p:cNvSpPr>
              <a:spLocks/>
            </p:cNvSpPr>
            <p:nvPr/>
          </p:nvSpPr>
          <p:spPr bwMode="auto">
            <a:xfrm>
              <a:off x="4529138" y="860425"/>
              <a:ext cx="1639888" cy="2022475"/>
            </a:xfrm>
            <a:custGeom>
              <a:avLst/>
              <a:gdLst>
                <a:gd name="T0" fmla="*/ 2147483647 w 1340"/>
                <a:gd name="T1" fmla="*/ 2147483647 h 1688"/>
                <a:gd name="T2" fmla="*/ 2147483647 w 1340"/>
                <a:gd name="T3" fmla="*/ 2147483647 h 1688"/>
                <a:gd name="T4" fmla="*/ 2147483647 w 1340"/>
                <a:gd name="T5" fmla="*/ 0 h 1688"/>
                <a:gd name="T6" fmla="*/ 2147483647 w 1340"/>
                <a:gd name="T7" fmla="*/ 2147483647 h 1688"/>
                <a:gd name="T8" fmla="*/ 2147483647 w 1340"/>
                <a:gd name="T9" fmla="*/ 2147483647 h 1688"/>
                <a:gd name="T10" fmla="*/ 2147483647 w 1340"/>
                <a:gd name="T11" fmla="*/ 2147483647 h 1688"/>
                <a:gd name="T12" fmla="*/ 2147483647 w 1340"/>
                <a:gd name="T13" fmla="*/ 2147483647 h 1688"/>
                <a:gd name="T14" fmla="*/ 2147483647 w 1340"/>
                <a:gd name="T15" fmla="*/ 2147483647 h 1688"/>
                <a:gd name="T16" fmla="*/ 2147483647 w 1340"/>
                <a:gd name="T17" fmla="*/ 2147483647 h 1688"/>
                <a:gd name="T18" fmla="*/ 2147483647 w 1340"/>
                <a:gd name="T19" fmla="*/ 2147483647 h 1688"/>
                <a:gd name="T20" fmla="*/ 2147483647 w 1340"/>
                <a:gd name="T21" fmla="*/ 2147483647 h 1688"/>
                <a:gd name="T22" fmla="*/ 2147483647 w 1340"/>
                <a:gd name="T23" fmla="*/ 2147483647 h 1688"/>
                <a:gd name="T24" fmla="*/ 2147483647 w 1340"/>
                <a:gd name="T25" fmla="*/ 2147483647 h 1688"/>
                <a:gd name="T26" fmla="*/ 2147483647 w 1340"/>
                <a:gd name="T27" fmla="*/ 2147483647 h 1688"/>
                <a:gd name="T28" fmla="*/ 2147483647 w 1340"/>
                <a:gd name="T29" fmla="*/ 2147483647 h 1688"/>
                <a:gd name="T30" fmla="*/ 2147483647 w 1340"/>
                <a:gd name="T31" fmla="*/ 2147483647 h 1688"/>
                <a:gd name="T32" fmla="*/ 2147483647 w 1340"/>
                <a:gd name="T33" fmla="*/ 2147483647 h 1688"/>
                <a:gd name="T34" fmla="*/ 2147483647 w 1340"/>
                <a:gd name="T35" fmla="*/ 2147483647 h 1688"/>
                <a:gd name="T36" fmla="*/ 2147483647 w 1340"/>
                <a:gd name="T37" fmla="*/ 2147483647 h 1688"/>
                <a:gd name="T38" fmla="*/ 2147483647 w 1340"/>
                <a:gd name="T39" fmla="*/ 2147483647 h 1688"/>
                <a:gd name="T40" fmla="*/ 2147483647 w 1340"/>
                <a:gd name="T41" fmla="*/ 2147483647 h 1688"/>
                <a:gd name="T42" fmla="*/ 2147483647 w 1340"/>
                <a:gd name="T43" fmla="*/ 2147483647 h 1688"/>
                <a:gd name="T44" fmla="*/ 2147483647 w 1340"/>
                <a:gd name="T45" fmla="*/ 2147483647 h 1688"/>
                <a:gd name="T46" fmla="*/ 2147483647 w 1340"/>
                <a:gd name="T47" fmla="*/ 2147483647 h 1688"/>
                <a:gd name="T48" fmla="*/ 0 w 1340"/>
                <a:gd name="T49" fmla="*/ 2147483647 h 1688"/>
                <a:gd name="T50" fmla="*/ 2147483647 w 1340"/>
                <a:gd name="T51" fmla="*/ 2147483647 h 1688"/>
                <a:gd name="T52" fmla="*/ 2147483647 w 1340"/>
                <a:gd name="T53" fmla="*/ 2147483647 h 1688"/>
                <a:gd name="T54" fmla="*/ 2147483647 w 1340"/>
                <a:gd name="T55" fmla="*/ 2147483647 h 1688"/>
                <a:gd name="T56" fmla="*/ 2147483647 w 1340"/>
                <a:gd name="T57" fmla="*/ 2147483647 h 1688"/>
                <a:gd name="T58" fmla="*/ 2147483647 w 1340"/>
                <a:gd name="T59" fmla="*/ 2147483647 h 1688"/>
                <a:gd name="T60" fmla="*/ 2147483647 w 1340"/>
                <a:gd name="T61" fmla="*/ 2147483647 h 1688"/>
                <a:gd name="T62" fmla="*/ 2147483647 w 1340"/>
                <a:gd name="T63" fmla="*/ 2147483647 h 1688"/>
                <a:gd name="T64" fmla="*/ 2147483647 w 1340"/>
                <a:gd name="T65" fmla="*/ 2147483647 h 1688"/>
                <a:gd name="T66" fmla="*/ 2147483647 w 1340"/>
                <a:gd name="T67" fmla="*/ 2147483647 h 1688"/>
                <a:gd name="T68" fmla="*/ 2147483647 w 1340"/>
                <a:gd name="T69" fmla="*/ 2147483647 h 1688"/>
                <a:gd name="T70" fmla="*/ 2147483647 w 1340"/>
                <a:gd name="T71" fmla="*/ 2147483647 h 1688"/>
                <a:gd name="T72" fmla="*/ 2147483647 w 1340"/>
                <a:gd name="T73" fmla="*/ 2147483647 h 1688"/>
                <a:gd name="T74" fmla="*/ 2147483647 w 1340"/>
                <a:gd name="T75" fmla="*/ 2147483647 h 1688"/>
                <a:gd name="T76" fmla="*/ 2147483647 w 1340"/>
                <a:gd name="T77" fmla="*/ 2147483647 h 1688"/>
                <a:gd name="T78" fmla="*/ 2147483647 w 1340"/>
                <a:gd name="T79" fmla="*/ 2147483647 h 1688"/>
                <a:gd name="T80" fmla="*/ 2147483647 w 1340"/>
                <a:gd name="T81" fmla="*/ 2147483647 h 1688"/>
                <a:gd name="T82" fmla="*/ 2147483647 w 1340"/>
                <a:gd name="T83" fmla="*/ 2147483647 h 1688"/>
                <a:gd name="T84" fmla="*/ 2147483647 w 1340"/>
                <a:gd name="T85" fmla="*/ 2147483647 h 1688"/>
                <a:gd name="T86" fmla="*/ 2147483647 w 1340"/>
                <a:gd name="T87" fmla="*/ 2147483647 h 1688"/>
                <a:gd name="T88" fmla="*/ 2147483647 w 1340"/>
                <a:gd name="T89" fmla="*/ 2147483647 h 1688"/>
                <a:gd name="T90" fmla="*/ 2147483647 w 1340"/>
                <a:gd name="T91" fmla="*/ 2147483647 h 1688"/>
                <a:gd name="T92" fmla="*/ 2147483647 w 1340"/>
                <a:gd name="T93" fmla="*/ 2147483647 h 1688"/>
                <a:gd name="T94" fmla="*/ 2147483647 w 1340"/>
                <a:gd name="T95" fmla="*/ 2147483647 h 1688"/>
                <a:gd name="T96" fmla="*/ 2147483647 w 1340"/>
                <a:gd name="T97" fmla="*/ 2147483647 h 1688"/>
                <a:gd name="T98" fmla="*/ 2147483647 w 1340"/>
                <a:gd name="T99" fmla="*/ 2147483647 h 16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0"/>
                <a:gd name="T151" fmla="*/ 0 h 1688"/>
                <a:gd name="T152" fmla="*/ 1340 w 1340"/>
                <a:gd name="T153" fmla="*/ 1688 h 16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0" h="1688">
                  <a:moveTo>
                    <a:pt x="1239" y="104"/>
                  </a:moveTo>
                  <a:lnTo>
                    <a:pt x="1281" y="80"/>
                  </a:lnTo>
                  <a:lnTo>
                    <a:pt x="1323" y="40"/>
                  </a:lnTo>
                  <a:lnTo>
                    <a:pt x="1239" y="16"/>
                  </a:lnTo>
                  <a:lnTo>
                    <a:pt x="1214" y="8"/>
                  </a:lnTo>
                  <a:lnTo>
                    <a:pt x="1205" y="24"/>
                  </a:lnTo>
                  <a:lnTo>
                    <a:pt x="1180" y="56"/>
                  </a:lnTo>
                  <a:lnTo>
                    <a:pt x="1172" y="16"/>
                  </a:lnTo>
                  <a:lnTo>
                    <a:pt x="1172" y="0"/>
                  </a:lnTo>
                  <a:lnTo>
                    <a:pt x="1146" y="0"/>
                  </a:lnTo>
                  <a:lnTo>
                    <a:pt x="1130" y="0"/>
                  </a:lnTo>
                  <a:lnTo>
                    <a:pt x="1130" y="24"/>
                  </a:lnTo>
                  <a:lnTo>
                    <a:pt x="1130" y="64"/>
                  </a:lnTo>
                  <a:lnTo>
                    <a:pt x="1104" y="24"/>
                  </a:lnTo>
                  <a:lnTo>
                    <a:pt x="1071" y="120"/>
                  </a:lnTo>
                  <a:lnTo>
                    <a:pt x="1062" y="48"/>
                  </a:lnTo>
                  <a:lnTo>
                    <a:pt x="1037" y="24"/>
                  </a:lnTo>
                  <a:lnTo>
                    <a:pt x="1012" y="40"/>
                  </a:lnTo>
                  <a:lnTo>
                    <a:pt x="961" y="80"/>
                  </a:lnTo>
                  <a:lnTo>
                    <a:pt x="953" y="112"/>
                  </a:lnTo>
                  <a:lnTo>
                    <a:pt x="961" y="136"/>
                  </a:lnTo>
                  <a:lnTo>
                    <a:pt x="902" y="144"/>
                  </a:lnTo>
                  <a:lnTo>
                    <a:pt x="885" y="160"/>
                  </a:lnTo>
                  <a:lnTo>
                    <a:pt x="877" y="184"/>
                  </a:lnTo>
                  <a:lnTo>
                    <a:pt x="851" y="192"/>
                  </a:lnTo>
                  <a:lnTo>
                    <a:pt x="826" y="192"/>
                  </a:lnTo>
                  <a:lnTo>
                    <a:pt x="809" y="176"/>
                  </a:lnTo>
                  <a:lnTo>
                    <a:pt x="784" y="176"/>
                  </a:lnTo>
                  <a:lnTo>
                    <a:pt x="750" y="208"/>
                  </a:lnTo>
                  <a:lnTo>
                    <a:pt x="717" y="248"/>
                  </a:lnTo>
                  <a:lnTo>
                    <a:pt x="683" y="296"/>
                  </a:lnTo>
                  <a:lnTo>
                    <a:pt x="683" y="320"/>
                  </a:lnTo>
                  <a:lnTo>
                    <a:pt x="700" y="328"/>
                  </a:lnTo>
                  <a:lnTo>
                    <a:pt x="658" y="376"/>
                  </a:lnTo>
                  <a:lnTo>
                    <a:pt x="639" y="374"/>
                  </a:lnTo>
                  <a:lnTo>
                    <a:pt x="645" y="422"/>
                  </a:lnTo>
                  <a:lnTo>
                    <a:pt x="616" y="456"/>
                  </a:lnTo>
                  <a:lnTo>
                    <a:pt x="599" y="480"/>
                  </a:lnTo>
                  <a:lnTo>
                    <a:pt x="590" y="504"/>
                  </a:lnTo>
                  <a:lnTo>
                    <a:pt x="607" y="520"/>
                  </a:lnTo>
                  <a:lnTo>
                    <a:pt x="573" y="536"/>
                  </a:lnTo>
                  <a:lnTo>
                    <a:pt x="565" y="560"/>
                  </a:lnTo>
                  <a:lnTo>
                    <a:pt x="540" y="576"/>
                  </a:lnTo>
                  <a:lnTo>
                    <a:pt x="523" y="624"/>
                  </a:lnTo>
                  <a:lnTo>
                    <a:pt x="472" y="744"/>
                  </a:lnTo>
                  <a:lnTo>
                    <a:pt x="455" y="816"/>
                  </a:lnTo>
                  <a:lnTo>
                    <a:pt x="439" y="840"/>
                  </a:lnTo>
                  <a:lnTo>
                    <a:pt x="396" y="848"/>
                  </a:lnTo>
                  <a:lnTo>
                    <a:pt x="405" y="872"/>
                  </a:lnTo>
                  <a:lnTo>
                    <a:pt x="413" y="888"/>
                  </a:lnTo>
                  <a:lnTo>
                    <a:pt x="396" y="896"/>
                  </a:lnTo>
                  <a:lnTo>
                    <a:pt x="346" y="952"/>
                  </a:lnTo>
                  <a:lnTo>
                    <a:pt x="321" y="1008"/>
                  </a:lnTo>
                  <a:lnTo>
                    <a:pt x="304" y="1024"/>
                  </a:lnTo>
                  <a:lnTo>
                    <a:pt x="295" y="1032"/>
                  </a:lnTo>
                  <a:lnTo>
                    <a:pt x="262" y="1024"/>
                  </a:lnTo>
                  <a:lnTo>
                    <a:pt x="236" y="1032"/>
                  </a:lnTo>
                  <a:lnTo>
                    <a:pt x="228" y="1040"/>
                  </a:lnTo>
                  <a:lnTo>
                    <a:pt x="220" y="1064"/>
                  </a:lnTo>
                  <a:lnTo>
                    <a:pt x="186" y="1088"/>
                  </a:lnTo>
                  <a:lnTo>
                    <a:pt x="152" y="1104"/>
                  </a:lnTo>
                  <a:lnTo>
                    <a:pt x="127" y="1128"/>
                  </a:lnTo>
                  <a:lnTo>
                    <a:pt x="93" y="1144"/>
                  </a:lnTo>
                  <a:lnTo>
                    <a:pt x="68" y="1168"/>
                  </a:lnTo>
                  <a:lnTo>
                    <a:pt x="51" y="1192"/>
                  </a:lnTo>
                  <a:lnTo>
                    <a:pt x="26" y="1200"/>
                  </a:lnTo>
                  <a:lnTo>
                    <a:pt x="17" y="1208"/>
                  </a:lnTo>
                  <a:lnTo>
                    <a:pt x="17" y="1248"/>
                  </a:lnTo>
                  <a:lnTo>
                    <a:pt x="9" y="1264"/>
                  </a:lnTo>
                  <a:lnTo>
                    <a:pt x="17" y="1272"/>
                  </a:lnTo>
                  <a:lnTo>
                    <a:pt x="17" y="1288"/>
                  </a:lnTo>
                  <a:lnTo>
                    <a:pt x="9" y="1304"/>
                  </a:lnTo>
                  <a:lnTo>
                    <a:pt x="17" y="1312"/>
                  </a:lnTo>
                  <a:lnTo>
                    <a:pt x="17" y="1328"/>
                  </a:lnTo>
                  <a:lnTo>
                    <a:pt x="0" y="1352"/>
                  </a:lnTo>
                  <a:lnTo>
                    <a:pt x="17" y="1384"/>
                  </a:lnTo>
                  <a:lnTo>
                    <a:pt x="43" y="1408"/>
                  </a:lnTo>
                  <a:lnTo>
                    <a:pt x="9" y="1424"/>
                  </a:lnTo>
                  <a:lnTo>
                    <a:pt x="34" y="1432"/>
                  </a:lnTo>
                  <a:lnTo>
                    <a:pt x="9" y="1480"/>
                  </a:lnTo>
                  <a:lnTo>
                    <a:pt x="51" y="1464"/>
                  </a:lnTo>
                  <a:lnTo>
                    <a:pt x="51" y="1480"/>
                  </a:lnTo>
                  <a:lnTo>
                    <a:pt x="43" y="1488"/>
                  </a:lnTo>
                  <a:lnTo>
                    <a:pt x="17" y="1512"/>
                  </a:lnTo>
                  <a:lnTo>
                    <a:pt x="17" y="1544"/>
                  </a:lnTo>
                  <a:lnTo>
                    <a:pt x="43" y="1544"/>
                  </a:lnTo>
                  <a:lnTo>
                    <a:pt x="59" y="1552"/>
                  </a:lnTo>
                  <a:lnTo>
                    <a:pt x="59" y="1568"/>
                  </a:lnTo>
                  <a:lnTo>
                    <a:pt x="34" y="1584"/>
                  </a:lnTo>
                  <a:lnTo>
                    <a:pt x="17" y="1584"/>
                  </a:lnTo>
                  <a:lnTo>
                    <a:pt x="9" y="1592"/>
                  </a:lnTo>
                  <a:lnTo>
                    <a:pt x="26" y="1616"/>
                  </a:lnTo>
                  <a:lnTo>
                    <a:pt x="51" y="1632"/>
                  </a:lnTo>
                  <a:lnTo>
                    <a:pt x="76" y="1656"/>
                  </a:lnTo>
                  <a:lnTo>
                    <a:pt x="118" y="1664"/>
                  </a:lnTo>
                  <a:lnTo>
                    <a:pt x="102" y="1688"/>
                  </a:lnTo>
                  <a:lnTo>
                    <a:pt x="177" y="1688"/>
                  </a:lnTo>
                  <a:lnTo>
                    <a:pt x="236" y="1664"/>
                  </a:lnTo>
                  <a:lnTo>
                    <a:pt x="278" y="1624"/>
                  </a:lnTo>
                  <a:lnTo>
                    <a:pt x="312" y="1576"/>
                  </a:lnTo>
                  <a:lnTo>
                    <a:pt x="329" y="1584"/>
                  </a:lnTo>
                  <a:lnTo>
                    <a:pt x="346" y="1576"/>
                  </a:lnTo>
                  <a:lnTo>
                    <a:pt x="363" y="1544"/>
                  </a:lnTo>
                  <a:lnTo>
                    <a:pt x="363" y="1512"/>
                  </a:lnTo>
                  <a:lnTo>
                    <a:pt x="388" y="1512"/>
                  </a:lnTo>
                  <a:lnTo>
                    <a:pt x="396" y="1528"/>
                  </a:lnTo>
                  <a:lnTo>
                    <a:pt x="405" y="1560"/>
                  </a:lnTo>
                  <a:lnTo>
                    <a:pt x="422" y="1592"/>
                  </a:lnTo>
                  <a:lnTo>
                    <a:pt x="439" y="1584"/>
                  </a:lnTo>
                  <a:lnTo>
                    <a:pt x="455" y="1488"/>
                  </a:lnTo>
                  <a:lnTo>
                    <a:pt x="489" y="1456"/>
                  </a:lnTo>
                  <a:lnTo>
                    <a:pt x="489" y="1368"/>
                  </a:lnTo>
                  <a:lnTo>
                    <a:pt x="514" y="1328"/>
                  </a:lnTo>
                  <a:lnTo>
                    <a:pt x="514" y="1288"/>
                  </a:lnTo>
                  <a:lnTo>
                    <a:pt x="472" y="1248"/>
                  </a:lnTo>
                  <a:lnTo>
                    <a:pt x="472" y="1168"/>
                  </a:lnTo>
                  <a:lnTo>
                    <a:pt x="455" y="1048"/>
                  </a:lnTo>
                  <a:lnTo>
                    <a:pt x="489" y="976"/>
                  </a:lnTo>
                  <a:lnTo>
                    <a:pt x="565" y="968"/>
                  </a:lnTo>
                  <a:lnTo>
                    <a:pt x="582" y="912"/>
                  </a:lnTo>
                  <a:lnTo>
                    <a:pt x="540" y="888"/>
                  </a:lnTo>
                  <a:lnTo>
                    <a:pt x="590" y="808"/>
                  </a:lnTo>
                  <a:lnTo>
                    <a:pt x="590" y="712"/>
                  </a:lnTo>
                  <a:lnTo>
                    <a:pt x="632" y="688"/>
                  </a:lnTo>
                  <a:lnTo>
                    <a:pt x="632" y="624"/>
                  </a:lnTo>
                  <a:lnTo>
                    <a:pt x="691" y="568"/>
                  </a:lnTo>
                  <a:lnTo>
                    <a:pt x="683" y="528"/>
                  </a:lnTo>
                  <a:lnTo>
                    <a:pt x="683" y="480"/>
                  </a:lnTo>
                  <a:lnTo>
                    <a:pt x="717" y="440"/>
                  </a:lnTo>
                  <a:lnTo>
                    <a:pt x="759" y="440"/>
                  </a:lnTo>
                  <a:lnTo>
                    <a:pt x="776" y="384"/>
                  </a:lnTo>
                  <a:lnTo>
                    <a:pt x="851" y="400"/>
                  </a:lnTo>
                  <a:lnTo>
                    <a:pt x="851" y="320"/>
                  </a:lnTo>
                  <a:lnTo>
                    <a:pt x="868" y="312"/>
                  </a:lnTo>
                  <a:lnTo>
                    <a:pt x="851" y="296"/>
                  </a:lnTo>
                  <a:lnTo>
                    <a:pt x="894" y="272"/>
                  </a:lnTo>
                  <a:lnTo>
                    <a:pt x="995" y="320"/>
                  </a:lnTo>
                  <a:lnTo>
                    <a:pt x="1037" y="304"/>
                  </a:lnTo>
                  <a:lnTo>
                    <a:pt x="1096" y="320"/>
                  </a:lnTo>
                  <a:lnTo>
                    <a:pt x="1113" y="248"/>
                  </a:lnTo>
                  <a:lnTo>
                    <a:pt x="1113" y="176"/>
                  </a:lnTo>
                  <a:lnTo>
                    <a:pt x="1146" y="136"/>
                  </a:lnTo>
                  <a:lnTo>
                    <a:pt x="1197" y="136"/>
                  </a:lnTo>
                  <a:lnTo>
                    <a:pt x="1264" y="168"/>
                  </a:lnTo>
                  <a:lnTo>
                    <a:pt x="1281" y="208"/>
                  </a:lnTo>
                  <a:lnTo>
                    <a:pt x="1306" y="176"/>
                  </a:lnTo>
                  <a:lnTo>
                    <a:pt x="1340" y="144"/>
                  </a:lnTo>
                  <a:lnTo>
                    <a:pt x="1340" y="120"/>
                  </a:lnTo>
                  <a:lnTo>
                    <a:pt x="1239" y="104"/>
                  </a:lnTo>
                  <a:close/>
                </a:path>
              </a:pathLst>
            </a:custGeom>
            <a:solidFill>
              <a:schemeClr val="bg1"/>
            </a:solidFill>
            <a:ln w="12700">
              <a:solidFill>
                <a:srgbClr val="000000"/>
              </a:solidFill>
              <a:round/>
              <a:headEnd/>
              <a:tailEnd/>
            </a:ln>
          </p:spPr>
          <p:txBody>
            <a:bodyPr/>
            <a:lstStyle/>
            <a:p>
              <a:endParaRPr lang="en-US"/>
            </a:p>
          </p:txBody>
        </p:sp>
        <p:sp>
          <p:nvSpPr>
            <p:cNvPr id="35845" name="Line 5"/>
            <p:cNvSpPr>
              <a:spLocks noChangeShapeType="1"/>
            </p:cNvSpPr>
            <p:nvPr/>
          </p:nvSpPr>
          <p:spPr bwMode="auto">
            <a:xfrm>
              <a:off x="5281613" y="3705225"/>
              <a:ext cx="2520950" cy="95250"/>
            </a:xfrm>
            <a:prstGeom prst="line">
              <a:avLst/>
            </a:prstGeom>
            <a:noFill/>
            <a:ln w="12700">
              <a:solidFill>
                <a:schemeClr val="tx1"/>
              </a:solidFill>
              <a:round/>
              <a:headEnd/>
              <a:tailEnd type="triangle" w="med" len="med"/>
            </a:ln>
            <a:extLst/>
          </p:spPr>
          <p:txBody>
            <a:bodyPr wrap="none"/>
            <a:lstStyle/>
            <a:p>
              <a:pPr>
                <a:defRPr/>
              </a:pPr>
              <a:endParaRPr lang="es-AR" sz="1800">
                <a:latin typeface="+mn-lt"/>
                <a:cs typeface="Arial" charset="0"/>
              </a:endParaRPr>
            </a:p>
          </p:txBody>
        </p:sp>
        <p:sp>
          <p:nvSpPr>
            <p:cNvPr id="35846" name="Text Box 6"/>
            <p:cNvSpPr txBox="1">
              <a:spLocks noChangeArrowheads="1"/>
            </p:cNvSpPr>
            <p:nvPr/>
          </p:nvSpPr>
          <p:spPr bwMode="auto">
            <a:xfrm>
              <a:off x="403225" y="3094038"/>
              <a:ext cx="1622425"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 altLang="es-ES_tradnl" sz="1400">
                  <a:solidFill>
                    <a:schemeClr val="tx1"/>
                  </a:solidFill>
                  <a:latin typeface="+mn-lt"/>
                  <a:cs typeface="Times New Roman" pitchFamily="18" charset="0"/>
                </a:rPr>
                <a:t>Casa Argentina en París</a:t>
              </a:r>
            </a:p>
          </p:txBody>
        </p:sp>
        <p:sp>
          <p:nvSpPr>
            <p:cNvPr id="35847" name="Line 7"/>
            <p:cNvSpPr>
              <a:spLocks noChangeShapeType="1"/>
            </p:cNvSpPr>
            <p:nvPr/>
          </p:nvSpPr>
          <p:spPr bwMode="auto">
            <a:xfrm>
              <a:off x="2071688" y="3362325"/>
              <a:ext cx="2051050" cy="768350"/>
            </a:xfrm>
            <a:prstGeom prst="line">
              <a:avLst/>
            </a:prstGeom>
            <a:noFill/>
            <a:ln w="12700">
              <a:solidFill>
                <a:schemeClr val="tx1"/>
              </a:solidFill>
              <a:round/>
              <a:headEnd type="triangle" w="med" len="med"/>
              <a:tailEnd/>
            </a:ln>
            <a:extLst/>
          </p:spPr>
          <p:txBody>
            <a:bodyPr wrap="none"/>
            <a:lstStyle/>
            <a:p>
              <a:pPr>
                <a:defRPr/>
              </a:pPr>
              <a:endParaRPr lang="es-AR" sz="1800">
                <a:latin typeface="+mn-lt"/>
                <a:cs typeface="Arial" charset="0"/>
              </a:endParaRPr>
            </a:p>
          </p:txBody>
        </p:sp>
        <p:sp>
          <p:nvSpPr>
            <p:cNvPr id="35848" name="Text Box 8"/>
            <p:cNvSpPr txBox="1">
              <a:spLocks noChangeArrowheads="1"/>
            </p:cNvSpPr>
            <p:nvPr/>
          </p:nvSpPr>
          <p:spPr bwMode="auto">
            <a:xfrm>
              <a:off x="403225" y="2706688"/>
              <a:ext cx="2063750"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defRPr/>
              </a:pPr>
              <a:r>
                <a:rPr lang="es-ES_tradnl" altLang="es-ES_tradnl" sz="2800" b="1" dirty="0">
                  <a:solidFill>
                    <a:srgbClr val="000066"/>
                  </a:solidFill>
                  <a:latin typeface="+mn-lt"/>
                </a:rPr>
                <a:t>FRANCIA</a:t>
              </a:r>
            </a:p>
          </p:txBody>
        </p:sp>
        <p:sp>
          <p:nvSpPr>
            <p:cNvPr id="35850" name="Text Box 8"/>
            <p:cNvSpPr txBox="1">
              <a:spLocks noChangeArrowheads="1"/>
            </p:cNvSpPr>
            <p:nvPr/>
          </p:nvSpPr>
          <p:spPr bwMode="auto">
            <a:xfrm>
              <a:off x="3408363" y="5746750"/>
              <a:ext cx="1487487"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defRPr/>
              </a:pPr>
              <a:r>
                <a:rPr lang="es-ES_tradnl" altLang="es-ES_tradnl" sz="2800" b="1" dirty="0">
                  <a:solidFill>
                    <a:srgbClr val="000066"/>
                  </a:solidFill>
                  <a:latin typeface="+mn-lt"/>
                </a:rPr>
                <a:t>ITALIA</a:t>
              </a:r>
            </a:p>
          </p:txBody>
        </p:sp>
        <p:sp>
          <p:nvSpPr>
            <p:cNvPr id="35851" name="Line 7"/>
            <p:cNvSpPr>
              <a:spLocks noChangeShapeType="1"/>
            </p:cNvSpPr>
            <p:nvPr/>
          </p:nvSpPr>
          <p:spPr bwMode="auto">
            <a:xfrm>
              <a:off x="2379663" y="4583113"/>
              <a:ext cx="2482850" cy="128587"/>
            </a:xfrm>
            <a:prstGeom prst="line">
              <a:avLst/>
            </a:prstGeom>
            <a:noFill/>
            <a:ln w="12700">
              <a:solidFill>
                <a:schemeClr val="tx1"/>
              </a:solidFill>
              <a:round/>
              <a:headEnd type="triangle" w="med" len="med"/>
              <a:tailEnd/>
            </a:ln>
            <a:extLst/>
          </p:spPr>
          <p:txBody>
            <a:bodyPr wrap="none"/>
            <a:lstStyle/>
            <a:p>
              <a:pPr>
                <a:defRPr/>
              </a:pPr>
              <a:endParaRPr lang="es-AR" sz="1800">
                <a:latin typeface="+mn-lt"/>
                <a:cs typeface="Arial" charset="0"/>
              </a:endParaRPr>
            </a:p>
          </p:txBody>
        </p:sp>
        <p:sp>
          <p:nvSpPr>
            <p:cNvPr id="35852" name="Text Box 6"/>
            <p:cNvSpPr txBox="1">
              <a:spLocks noChangeArrowheads="1"/>
            </p:cNvSpPr>
            <p:nvPr/>
          </p:nvSpPr>
          <p:spPr bwMode="auto">
            <a:xfrm>
              <a:off x="3036888" y="6145213"/>
              <a:ext cx="1739900" cy="523875"/>
            </a:xfrm>
            <a:prstGeom prst="rect">
              <a:avLst/>
            </a:prstGeom>
            <a:noFill/>
            <a:ln>
              <a:noFill/>
            </a:ln>
            <a:extLst/>
          </p:spPr>
          <p:txBody>
            <a:bodyPr lIns="36000" rIns="36000">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 altLang="es-ES_tradnl" sz="1400">
                  <a:solidFill>
                    <a:schemeClr val="tx1"/>
                  </a:solidFill>
                  <a:latin typeface="+mn-lt"/>
                  <a:cs typeface="Times New Roman" pitchFamily="18" charset="0"/>
                </a:rPr>
                <a:t>Embajada Argentina en Roma</a:t>
              </a:r>
            </a:p>
          </p:txBody>
        </p:sp>
        <p:sp>
          <p:nvSpPr>
            <p:cNvPr id="35853" name="Line 5"/>
            <p:cNvSpPr>
              <a:spLocks noChangeShapeType="1"/>
            </p:cNvSpPr>
            <p:nvPr/>
          </p:nvSpPr>
          <p:spPr bwMode="auto">
            <a:xfrm>
              <a:off x="5281613" y="4330700"/>
              <a:ext cx="2452687" cy="534988"/>
            </a:xfrm>
            <a:prstGeom prst="line">
              <a:avLst/>
            </a:prstGeom>
            <a:noFill/>
            <a:ln w="12700">
              <a:solidFill>
                <a:schemeClr val="tx1"/>
              </a:solidFill>
              <a:round/>
              <a:headEnd/>
              <a:tailEnd type="triangle" w="med" len="med"/>
            </a:ln>
            <a:extLst/>
          </p:spPr>
          <p:txBody>
            <a:bodyPr wrap="none"/>
            <a:lstStyle/>
            <a:p>
              <a:pPr>
                <a:defRPr/>
              </a:pPr>
              <a:endParaRPr lang="es-AR" sz="1800">
                <a:latin typeface="+mn-lt"/>
                <a:cs typeface="Arial" charset="0"/>
              </a:endParaRPr>
            </a:p>
          </p:txBody>
        </p:sp>
        <p:sp>
          <p:nvSpPr>
            <p:cNvPr id="35856" name="Text Box 8"/>
            <p:cNvSpPr txBox="1">
              <a:spLocks noChangeArrowheads="1"/>
            </p:cNvSpPr>
            <p:nvPr/>
          </p:nvSpPr>
          <p:spPr bwMode="auto">
            <a:xfrm>
              <a:off x="7261225" y="5775325"/>
              <a:ext cx="1693863"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2800" b="1" dirty="0">
                  <a:solidFill>
                    <a:srgbClr val="000066"/>
                  </a:solidFill>
                  <a:latin typeface="+mn-lt"/>
                </a:rPr>
                <a:t>ITALIA</a:t>
              </a:r>
            </a:p>
          </p:txBody>
        </p:sp>
        <p:sp>
          <p:nvSpPr>
            <p:cNvPr id="35857" name="Text Box 6"/>
            <p:cNvSpPr txBox="1">
              <a:spLocks noChangeArrowheads="1"/>
            </p:cNvSpPr>
            <p:nvPr/>
          </p:nvSpPr>
          <p:spPr bwMode="auto">
            <a:xfrm>
              <a:off x="7072313" y="6110288"/>
              <a:ext cx="1990725"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 altLang="es-ES_tradnl" sz="1400">
                  <a:solidFill>
                    <a:schemeClr val="tx1"/>
                  </a:solidFill>
                  <a:latin typeface="+mn-lt"/>
                  <a:cs typeface="Times New Roman" pitchFamily="18" charset="0"/>
                </a:rPr>
                <a:t>British Institute di Avellino en Nápoles</a:t>
              </a:r>
            </a:p>
          </p:txBody>
        </p:sp>
        <p:sp>
          <p:nvSpPr>
            <p:cNvPr id="35858" name="Line 7"/>
            <p:cNvSpPr>
              <a:spLocks noChangeShapeType="1"/>
            </p:cNvSpPr>
            <p:nvPr/>
          </p:nvSpPr>
          <p:spPr bwMode="auto">
            <a:xfrm flipH="1" flipV="1">
              <a:off x="5570538" y="5410200"/>
              <a:ext cx="1809750" cy="606425"/>
            </a:xfrm>
            <a:prstGeom prst="line">
              <a:avLst/>
            </a:prstGeom>
            <a:noFill/>
            <a:ln w="12700">
              <a:solidFill>
                <a:schemeClr val="tx1"/>
              </a:solidFill>
              <a:round/>
              <a:headEnd type="triangle" w="med" len="med"/>
              <a:tailEnd/>
            </a:ln>
            <a:extLst/>
          </p:spPr>
          <p:txBody>
            <a:bodyPr wrap="none"/>
            <a:lstStyle/>
            <a:p>
              <a:pPr>
                <a:defRPr/>
              </a:pPr>
              <a:endParaRPr lang="es-AR" sz="1800">
                <a:latin typeface="+mn-lt"/>
                <a:cs typeface="Arial" charset="0"/>
              </a:endParaRPr>
            </a:p>
          </p:txBody>
        </p:sp>
        <p:sp>
          <p:nvSpPr>
            <p:cNvPr id="35859" name="Text Box 8"/>
            <p:cNvSpPr txBox="1">
              <a:spLocks noChangeArrowheads="1"/>
            </p:cNvSpPr>
            <p:nvPr/>
          </p:nvSpPr>
          <p:spPr bwMode="auto">
            <a:xfrm>
              <a:off x="212725" y="4241800"/>
              <a:ext cx="2063750"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2800" b="1" dirty="0">
                  <a:solidFill>
                    <a:srgbClr val="000066"/>
                  </a:solidFill>
                  <a:latin typeface="+mn-lt"/>
                </a:rPr>
                <a:t>ITALIA</a:t>
              </a:r>
            </a:p>
          </p:txBody>
        </p:sp>
        <p:sp>
          <p:nvSpPr>
            <p:cNvPr id="35860" name="Text Box 6"/>
            <p:cNvSpPr txBox="1">
              <a:spLocks noChangeArrowheads="1"/>
            </p:cNvSpPr>
            <p:nvPr/>
          </p:nvSpPr>
          <p:spPr bwMode="auto">
            <a:xfrm>
              <a:off x="30163" y="4645025"/>
              <a:ext cx="2427287"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 altLang="es-ES_tradnl" sz="1400">
                  <a:solidFill>
                    <a:schemeClr val="tx1"/>
                  </a:solidFill>
                  <a:latin typeface="+mn-lt"/>
                  <a:cs typeface="Times New Roman" pitchFamily="18" charset="0"/>
                </a:rPr>
                <a:t>Instituto Velázquez de Milán British Institutes Group</a:t>
              </a:r>
            </a:p>
          </p:txBody>
        </p:sp>
        <p:sp>
          <p:nvSpPr>
            <p:cNvPr id="35861" name="Text Box 8"/>
            <p:cNvSpPr txBox="1">
              <a:spLocks noChangeArrowheads="1"/>
            </p:cNvSpPr>
            <p:nvPr/>
          </p:nvSpPr>
          <p:spPr bwMode="auto">
            <a:xfrm>
              <a:off x="4987925" y="5922963"/>
              <a:ext cx="1693863"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2800" b="1" dirty="0">
                  <a:solidFill>
                    <a:srgbClr val="000066"/>
                  </a:solidFill>
                  <a:latin typeface="+mn-lt"/>
                </a:rPr>
                <a:t>ITALIA</a:t>
              </a:r>
            </a:p>
          </p:txBody>
        </p:sp>
        <p:sp>
          <p:nvSpPr>
            <p:cNvPr id="35863" name="Line 7"/>
            <p:cNvSpPr>
              <a:spLocks noChangeShapeType="1"/>
            </p:cNvSpPr>
            <p:nvPr/>
          </p:nvSpPr>
          <p:spPr bwMode="auto">
            <a:xfrm flipH="1" flipV="1">
              <a:off x="5410200" y="5767388"/>
              <a:ext cx="0" cy="236537"/>
            </a:xfrm>
            <a:prstGeom prst="line">
              <a:avLst/>
            </a:prstGeom>
            <a:noFill/>
            <a:ln w="12700">
              <a:solidFill>
                <a:schemeClr val="tx1"/>
              </a:solidFill>
              <a:round/>
              <a:headEnd type="triangle" w="med" len="med"/>
              <a:tailEnd/>
            </a:ln>
            <a:extLst/>
          </p:spPr>
          <p:txBody>
            <a:bodyPr wrap="none"/>
            <a:lstStyle/>
            <a:p>
              <a:pPr>
                <a:defRPr/>
              </a:pPr>
              <a:endParaRPr lang="es-AR" sz="1800">
                <a:latin typeface="+mn-lt"/>
                <a:cs typeface="Arial" charset="0"/>
              </a:endParaRPr>
            </a:p>
          </p:txBody>
        </p:sp>
        <p:sp>
          <p:nvSpPr>
            <p:cNvPr id="35864" name="Line 7"/>
            <p:cNvSpPr>
              <a:spLocks noChangeShapeType="1"/>
            </p:cNvSpPr>
            <p:nvPr/>
          </p:nvSpPr>
          <p:spPr bwMode="auto">
            <a:xfrm flipV="1">
              <a:off x="4260850" y="5249863"/>
              <a:ext cx="1020763" cy="595312"/>
            </a:xfrm>
            <a:prstGeom prst="line">
              <a:avLst/>
            </a:prstGeom>
            <a:noFill/>
            <a:ln w="12700">
              <a:solidFill>
                <a:schemeClr val="tx1"/>
              </a:solidFill>
              <a:round/>
              <a:headEnd type="triangle" w="med" len="med"/>
              <a:tailEnd/>
            </a:ln>
            <a:extLst/>
          </p:spPr>
          <p:txBody>
            <a:bodyPr wrap="none"/>
            <a:lstStyle/>
            <a:p>
              <a:pPr>
                <a:defRPr/>
              </a:pPr>
              <a:endParaRPr lang="es-AR" sz="1800">
                <a:latin typeface="+mn-lt"/>
                <a:cs typeface="Arial" charset="0"/>
              </a:endParaRPr>
            </a:p>
          </p:txBody>
        </p:sp>
        <p:sp>
          <p:nvSpPr>
            <p:cNvPr id="126" name="Text Box 4"/>
            <p:cNvSpPr txBox="1">
              <a:spLocks noChangeArrowheads="1"/>
            </p:cNvSpPr>
            <p:nvPr/>
          </p:nvSpPr>
          <p:spPr bwMode="auto">
            <a:xfrm>
              <a:off x="7537450" y="1824038"/>
              <a:ext cx="2352675"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AR" altLang="es-ES_tradnl" sz="1400" dirty="0">
                  <a:latin typeface="+mn-lt"/>
                </a:rPr>
                <a:t>Universidad </a:t>
              </a:r>
              <a:r>
                <a:rPr lang="es-ES" altLang="es-ES_tradnl" sz="1400" dirty="0">
                  <a:latin typeface="+mn-lt"/>
                </a:rPr>
                <a:t>Estatal </a:t>
              </a:r>
              <a:br>
                <a:rPr lang="es-ES" altLang="es-ES_tradnl" sz="1400" dirty="0">
                  <a:latin typeface="+mn-lt"/>
                </a:rPr>
              </a:br>
              <a:r>
                <a:rPr lang="es-ES" altLang="es-ES_tradnl" sz="1400" dirty="0">
                  <a:latin typeface="+mn-lt"/>
                </a:rPr>
                <a:t>Social Rusa</a:t>
              </a:r>
              <a:endParaRPr lang="es-ES" altLang="es-ES_tradnl" sz="1400" dirty="0">
                <a:solidFill>
                  <a:schemeClr val="tx1"/>
                </a:solidFill>
                <a:latin typeface="+mn-lt"/>
                <a:cs typeface="Times New Roman" pitchFamily="18" charset="0"/>
              </a:endParaRPr>
            </a:p>
          </p:txBody>
        </p:sp>
        <p:sp>
          <p:nvSpPr>
            <p:cNvPr id="127" name="Text Box 9"/>
            <p:cNvSpPr txBox="1">
              <a:spLocks noChangeArrowheads="1"/>
            </p:cNvSpPr>
            <p:nvPr/>
          </p:nvSpPr>
          <p:spPr bwMode="auto">
            <a:xfrm>
              <a:off x="8067675" y="1414463"/>
              <a:ext cx="1260475"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defRPr/>
              </a:pPr>
              <a:r>
                <a:rPr lang="es-ES_tradnl" altLang="es-ES_tradnl" sz="2800" b="1" dirty="0">
                  <a:solidFill>
                    <a:srgbClr val="000066"/>
                  </a:solidFill>
                  <a:latin typeface="+mn-lt"/>
                </a:rPr>
                <a:t>RUSIA</a:t>
              </a:r>
            </a:p>
          </p:txBody>
        </p:sp>
        <p:sp>
          <p:nvSpPr>
            <p:cNvPr id="132" name="Line 5"/>
            <p:cNvSpPr>
              <a:spLocks noChangeShapeType="1"/>
            </p:cNvSpPr>
            <p:nvPr/>
          </p:nvSpPr>
          <p:spPr bwMode="auto">
            <a:xfrm flipV="1">
              <a:off x="7188200" y="2178050"/>
              <a:ext cx="1016000" cy="303213"/>
            </a:xfrm>
            <a:prstGeom prst="line">
              <a:avLst/>
            </a:prstGeom>
            <a:noFill/>
            <a:ln w="12700">
              <a:solidFill>
                <a:schemeClr val="tx1"/>
              </a:solidFill>
              <a:round/>
              <a:headEnd/>
              <a:tailEnd type="triangle" w="med" len="med"/>
            </a:ln>
            <a:extLst/>
          </p:spPr>
          <p:txBody>
            <a:bodyPr wrap="none"/>
            <a:lstStyle/>
            <a:p>
              <a:pPr>
                <a:defRPr/>
              </a:pPr>
              <a:endParaRPr lang="es-AR" sz="1800">
                <a:latin typeface="+mn-lt"/>
                <a:cs typeface="Arial" charset="0"/>
              </a:endParaRPr>
            </a:p>
          </p:txBody>
        </p:sp>
      </p:grpSp>
    </p:spTree>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4"/>
          <p:cNvSpPr>
            <a:spLocks noGrp="1" noChangeArrowheads="1"/>
          </p:cNvSpPr>
          <p:nvPr>
            <p:ph type="title" idx="4294967295"/>
          </p:nvPr>
        </p:nvSpPr>
        <p:spPr>
          <a:xfrm>
            <a:off x="488950" y="68263"/>
            <a:ext cx="8915400" cy="1143000"/>
          </a:xfrm>
        </p:spPr>
        <p:txBody>
          <a:bodyPr/>
          <a:lstStyle/>
          <a:p>
            <a:pPr>
              <a:defRPr/>
            </a:pPr>
            <a:r>
              <a:rPr lang="es-AR" altLang="es-ES_tradnl" sz="4000" dirty="0">
                <a:solidFill>
                  <a:srgbClr val="000066"/>
                </a:solidFill>
                <a:latin typeface="+mn-lt"/>
              </a:rPr>
              <a:t>Sedes del CELU en Asia</a:t>
            </a:r>
            <a:endParaRPr lang="es-ES" altLang="es-ES_tradnl" sz="4000" dirty="0">
              <a:solidFill>
                <a:srgbClr val="000066"/>
              </a:solidFill>
              <a:latin typeface="+mn-lt"/>
            </a:endParaRPr>
          </a:p>
        </p:txBody>
      </p:sp>
      <p:grpSp>
        <p:nvGrpSpPr>
          <p:cNvPr id="35843" name="1 Grupo"/>
          <p:cNvGrpSpPr>
            <a:grpSpLocks/>
          </p:cNvGrpSpPr>
          <p:nvPr/>
        </p:nvGrpSpPr>
        <p:grpSpPr bwMode="auto">
          <a:xfrm>
            <a:off x="844550" y="1230313"/>
            <a:ext cx="6624638" cy="5100637"/>
            <a:chOff x="844550" y="1230313"/>
            <a:chExt cx="6624638" cy="5100637"/>
          </a:xfrm>
        </p:grpSpPr>
        <p:sp>
          <p:nvSpPr>
            <p:cNvPr id="37903" name="Freeform 14"/>
            <p:cNvSpPr>
              <a:spLocks/>
            </p:cNvSpPr>
            <p:nvPr>
              <p:custDataLst>
                <p:tags r:id="rId1"/>
              </p:custDataLst>
            </p:nvPr>
          </p:nvSpPr>
          <p:spPr bwMode="auto">
            <a:xfrm>
              <a:off x="3209925" y="2584450"/>
              <a:ext cx="2551113" cy="1868488"/>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grpSp>
          <p:nvGrpSpPr>
            <p:cNvPr id="3" name="Group 19"/>
            <p:cNvGrpSpPr>
              <a:grpSpLocks/>
            </p:cNvGrpSpPr>
            <p:nvPr>
              <p:custDataLst>
                <p:tags r:id="rId2"/>
              </p:custDataLst>
            </p:nvPr>
          </p:nvGrpSpPr>
          <p:grpSpPr bwMode="auto">
            <a:xfrm>
              <a:off x="4784550" y="5185093"/>
              <a:ext cx="942311" cy="382905"/>
              <a:chOff x="4488" y="2394"/>
              <a:chExt cx="358" cy="124"/>
            </a:xfrm>
            <a:solidFill>
              <a:schemeClr val="bg1"/>
            </a:solidFill>
          </p:grpSpPr>
          <p:sp>
            <p:nvSpPr>
              <p:cNvPr id="639"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chemeClr val="tx1"/>
                </a:solidFill>
                <a:prstDash val="solid"/>
                <a:round/>
                <a:headEnd type="none" w="med" len="med"/>
                <a:tailEnd type="none" w="med" len="med"/>
              </a:ln>
              <a:effectLst/>
            </p:spPr>
            <p:txBody>
              <a:bodyPr/>
              <a:lstStyle/>
              <a:p>
                <a:pPr>
                  <a:defRPr/>
                </a:pPr>
                <a:endParaRPr lang="en-US">
                  <a:latin typeface="+mn-lt"/>
                  <a:cs typeface="Arial" charset="0"/>
                </a:endParaRPr>
              </a:p>
            </p:txBody>
          </p:sp>
          <p:sp>
            <p:nvSpPr>
              <p:cNvPr id="640"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chemeClr val="tx1"/>
                </a:solidFill>
                <a:prstDash val="solid"/>
                <a:round/>
                <a:headEnd type="none" w="med" len="med"/>
                <a:tailEnd type="none" w="med" len="med"/>
              </a:ln>
              <a:effectLst/>
            </p:spPr>
            <p:txBody>
              <a:bodyPr/>
              <a:lstStyle/>
              <a:p>
                <a:pPr>
                  <a:defRPr/>
                </a:pPr>
                <a:endParaRPr lang="en-US">
                  <a:latin typeface="+mn-lt"/>
                  <a:cs typeface="Arial" charset="0"/>
                </a:endParaRPr>
              </a:p>
            </p:txBody>
          </p:sp>
        </p:grpSp>
        <p:sp>
          <p:nvSpPr>
            <p:cNvPr id="37905" name="Freeform 22"/>
            <p:cNvSpPr>
              <a:spLocks/>
            </p:cNvSpPr>
            <p:nvPr>
              <p:custDataLst>
                <p:tags r:id="rId3"/>
              </p:custDataLst>
            </p:nvPr>
          </p:nvSpPr>
          <p:spPr bwMode="auto">
            <a:xfrm>
              <a:off x="844550" y="1362075"/>
              <a:ext cx="6105525" cy="1933575"/>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06" name="Freeform 24"/>
            <p:cNvSpPr>
              <a:spLocks/>
            </p:cNvSpPr>
            <p:nvPr>
              <p:custDataLst>
                <p:tags r:id="rId4"/>
              </p:custDataLst>
            </p:nvPr>
          </p:nvSpPr>
          <p:spPr bwMode="auto">
            <a:xfrm>
              <a:off x="4619625" y="4467225"/>
              <a:ext cx="414338" cy="820738"/>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003399"/>
            </a:solidFill>
            <a:ln w="9525">
              <a:solidFill>
                <a:schemeClr val="tx1"/>
              </a:solidFill>
              <a:round/>
              <a:headEnd/>
              <a:tailEnd/>
            </a:ln>
          </p:spPr>
          <p:txBody>
            <a:bodyPr/>
            <a:lstStyle/>
            <a:p>
              <a:pPr>
                <a:defRPr/>
              </a:pPr>
              <a:endParaRPr lang="es-AR">
                <a:latin typeface="+mn-lt"/>
                <a:cs typeface="Arial" charset="0"/>
              </a:endParaRPr>
            </a:p>
          </p:txBody>
        </p:sp>
        <p:sp>
          <p:nvSpPr>
            <p:cNvPr id="37907" name="Freeform 30"/>
            <p:cNvSpPr>
              <a:spLocks/>
            </p:cNvSpPr>
            <p:nvPr>
              <p:custDataLst>
                <p:tags r:id="rId5"/>
              </p:custDataLst>
            </p:nvPr>
          </p:nvSpPr>
          <p:spPr bwMode="auto">
            <a:xfrm>
              <a:off x="1858963" y="2509838"/>
              <a:ext cx="1743075" cy="81438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08" name="Freeform 31"/>
            <p:cNvSpPr>
              <a:spLocks/>
            </p:cNvSpPr>
            <p:nvPr>
              <p:custDataLst>
                <p:tags r:id="rId6"/>
              </p:custDataLst>
            </p:nvPr>
          </p:nvSpPr>
          <p:spPr bwMode="auto">
            <a:xfrm>
              <a:off x="2317750" y="3055938"/>
              <a:ext cx="815975" cy="449262"/>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09" name="Freeform 35"/>
            <p:cNvSpPr>
              <a:spLocks/>
            </p:cNvSpPr>
            <p:nvPr>
              <p:custDataLst>
                <p:tags r:id="rId7"/>
              </p:custDataLst>
            </p:nvPr>
          </p:nvSpPr>
          <p:spPr bwMode="auto">
            <a:xfrm>
              <a:off x="2270125" y="4124325"/>
              <a:ext cx="38100" cy="103188"/>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0" name="Freeform 36"/>
            <p:cNvSpPr>
              <a:spLocks/>
            </p:cNvSpPr>
            <p:nvPr>
              <p:custDataLst>
                <p:tags r:id="rId8"/>
              </p:custDataLst>
            </p:nvPr>
          </p:nvSpPr>
          <p:spPr bwMode="auto">
            <a:xfrm>
              <a:off x="2508250" y="4133850"/>
              <a:ext cx="28575" cy="103188"/>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1" name="Freeform 37"/>
            <p:cNvSpPr>
              <a:spLocks/>
            </p:cNvSpPr>
            <p:nvPr>
              <p:custDataLst>
                <p:tags r:id="rId9"/>
              </p:custDataLst>
            </p:nvPr>
          </p:nvSpPr>
          <p:spPr bwMode="auto">
            <a:xfrm>
              <a:off x="5470525" y="5322888"/>
              <a:ext cx="88900" cy="10160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2" name="Freeform 77"/>
            <p:cNvSpPr>
              <a:spLocks/>
            </p:cNvSpPr>
            <p:nvPr>
              <p:custDataLst>
                <p:tags r:id="rId10"/>
              </p:custDataLst>
            </p:nvPr>
          </p:nvSpPr>
          <p:spPr bwMode="auto">
            <a:xfrm>
              <a:off x="6483350" y="5156200"/>
              <a:ext cx="17463" cy="103188"/>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3" name="Freeform 80"/>
            <p:cNvSpPr>
              <a:spLocks/>
            </p:cNvSpPr>
            <p:nvPr>
              <p:custDataLst>
                <p:tags r:id="rId11"/>
              </p:custDataLst>
            </p:nvPr>
          </p:nvSpPr>
          <p:spPr bwMode="auto">
            <a:xfrm>
              <a:off x="6608763" y="5137150"/>
              <a:ext cx="3175" cy="100013"/>
            </a:xfrm>
            <a:custGeom>
              <a:avLst/>
              <a:gdLst>
                <a:gd name="T0" fmla="*/ 0 w 7"/>
                <a:gd name="T1" fmla="*/ 0 h 100013"/>
                <a:gd name="T2" fmla="*/ 2147483647 w 7"/>
                <a:gd name="T3" fmla="*/ 0 h 100013"/>
                <a:gd name="T4" fmla="*/ 0 w 7"/>
                <a:gd name="T5" fmla="*/ 0 h 100013"/>
                <a:gd name="T6" fmla="*/ 0 60000 65536"/>
                <a:gd name="T7" fmla="*/ 0 60000 65536"/>
                <a:gd name="T8" fmla="*/ 0 60000 65536"/>
                <a:gd name="T9" fmla="*/ 0 w 7"/>
                <a:gd name="T10" fmla="*/ 0 h 100013"/>
                <a:gd name="T11" fmla="*/ 7 w 7"/>
                <a:gd name="T12" fmla="*/ 100013 h 100013"/>
              </a:gdLst>
              <a:ahLst/>
              <a:cxnLst>
                <a:cxn ang="T6">
                  <a:pos x="T0" y="T1"/>
                </a:cxn>
                <a:cxn ang="T7">
                  <a:pos x="T2" y="T3"/>
                </a:cxn>
                <a:cxn ang="T8">
                  <a:pos x="T4" y="T5"/>
                </a:cxn>
              </a:cxnLst>
              <a:rect l="T9" t="T10" r="T11" b="T12"/>
              <a:pathLst>
                <a:path w="7" h="100013">
                  <a:moveTo>
                    <a:pt x="0" y="0"/>
                  </a:moveTo>
                  <a:lnTo>
                    <a:pt x="7" y="0"/>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4" name="Freeform 81"/>
            <p:cNvSpPr>
              <a:spLocks/>
            </p:cNvSpPr>
            <p:nvPr>
              <p:custDataLst>
                <p:tags r:id="rId12"/>
              </p:custDataLst>
            </p:nvPr>
          </p:nvSpPr>
          <p:spPr bwMode="auto">
            <a:xfrm>
              <a:off x="6726238" y="5037138"/>
              <a:ext cx="12700" cy="10160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5" name="Freeform 82"/>
            <p:cNvSpPr>
              <a:spLocks/>
            </p:cNvSpPr>
            <p:nvPr>
              <p:custDataLst>
                <p:tags r:id="rId13"/>
              </p:custDataLst>
            </p:nvPr>
          </p:nvSpPr>
          <p:spPr bwMode="auto">
            <a:xfrm>
              <a:off x="6950075" y="4837113"/>
              <a:ext cx="9525" cy="10160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6" name="Freeform 104"/>
            <p:cNvSpPr>
              <a:spLocks/>
            </p:cNvSpPr>
            <p:nvPr>
              <p:custDataLst>
                <p:tags r:id="rId14"/>
              </p:custDataLst>
            </p:nvPr>
          </p:nvSpPr>
          <p:spPr bwMode="auto">
            <a:xfrm>
              <a:off x="4386263" y="4856163"/>
              <a:ext cx="12700" cy="103187"/>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7" name="Freeform 107"/>
            <p:cNvSpPr>
              <a:spLocks/>
            </p:cNvSpPr>
            <p:nvPr>
              <p:custDataLst>
                <p:tags r:id="rId15"/>
              </p:custDataLst>
            </p:nvPr>
          </p:nvSpPr>
          <p:spPr bwMode="auto">
            <a:xfrm>
              <a:off x="7086600" y="2605088"/>
              <a:ext cx="41275" cy="103187"/>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8" name="Freeform 108"/>
            <p:cNvSpPr>
              <a:spLocks/>
            </p:cNvSpPr>
            <p:nvPr>
              <p:custDataLst>
                <p:tags r:id="rId16"/>
              </p:custDataLst>
            </p:nvPr>
          </p:nvSpPr>
          <p:spPr bwMode="auto">
            <a:xfrm>
              <a:off x="7437438" y="2665413"/>
              <a:ext cx="31750" cy="10160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19" name="Freeform 109"/>
            <p:cNvSpPr>
              <a:spLocks/>
            </p:cNvSpPr>
            <p:nvPr>
              <p:custDataLst>
                <p:tags r:id="rId17"/>
              </p:custDataLst>
            </p:nvPr>
          </p:nvSpPr>
          <p:spPr bwMode="auto">
            <a:xfrm>
              <a:off x="6340475" y="3079750"/>
              <a:ext cx="9525" cy="104775"/>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20" name="Freeform 110"/>
            <p:cNvSpPr>
              <a:spLocks/>
            </p:cNvSpPr>
            <p:nvPr>
              <p:custDataLst>
                <p:tags r:id="rId18"/>
              </p:custDataLst>
            </p:nvPr>
          </p:nvSpPr>
          <p:spPr bwMode="auto">
            <a:xfrm>
              <a:off x="5970588" y="4090988"/>
              <a:ext cx="28575" cy="104775"/>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21" name="Freeform 111"/>
            <p:cNvSpPr>
              <a:spLocks/>
            </p:cNvSpPr>
            <p:nvPr>
              <p:custDataLst>
                <p:tags r:id="rId19"/>
              </p:custDataLst>
            </p:nvPr>
          </p:nvSpPr>
          <p:spPr bwMode="auto">
            <a:xfrm>
              <a:off x="6005513" y="3973513"/>
              <a:ext cx="31750" cy="103187"/>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22" name="Freeform 112"/>
            <p:cNvSpPr>
              <a:spLocks/>
            </p:cNvSpPr>
            <p:nvPr>
              <p:custDataLst>
                <p:tags r:id="rId20"/>
              </p:custDataLst>
            </p:nvPr>
          </p:nvSpPr>
          <p:spPr bwMode="auto">
            <a:xfrm>
              <a:off x="5783263" y="3702050"/>
              <a:ext cx="3175" cy="107950"/>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23" name="Freeform 115"/>
            <p:cNvSpPr>
              <a:spLocks/>
            </p:cNvSpPr>
            <p:nvPr>
              <p:custDataLst>
                <p:tags r:id="rId21"/>
              </p:custDataLst>
            </p:nvPr>
          </p:nvSpPr>
          <p:spPr bwMode="auto">
            <a:xfrm>
              <a:off x="2435225" y="4913313"/>
              <a:ext cx="50800" cy="100012"/>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grpSp>
          <p:nvGrpSpPr>
            <p:cNvPr id="4" name="Group 117"/>
            <p:cNvGrpSpPr>
              <a:grpSpLocks/>
            </p:cNvGrpSpPr>
            <p:nvPr>
              <p:custDataLst>
                <p:tags r:id="rId22"/>
              </p:custDataLst>
            </p:nvPr>
          </p:nvGrpSpPr>
          <p:grpSpPr bwMode="auto">
            <a:xfrm>
              <a:off x="3380569" y="5002213"/>
              <a:ext cx="91700" cy="674370"/>
              <a:chOff x="3950" y="2430"/>
              <a:chExt cx="36" cy="234"/>
            </a:xfrm>
            <a:solidFill>
              <a:schemeClr val="bg1"/>
            </a:solidFill>
          </p:grpSpPr>
          <p:sp>
            <p:nvSpPr>
              <p:cNvPr id="608"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09"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10"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11" name="Rectangle 121"/>
              <p:cNvSpPr>
                <a:spLocks noChangeArrowheads="1"/>
              </p:cNvSpPr>
              <p:nvPr/>
            </p:nvSpPr>
            <p:spPr bwMode="auto">
              <a:xfrm>
                <a:off x="3975" y="2632"/>
                <a:ext cx="8" cy="2"/>
              </a:xfrm>
              <a:prstGeom prst="rect">
                <a:avLst/>
              </a:prstGeom>
              <a:grpFill/>
              <a:ln w="9525">
                <a:solidFill>
                  <a:schemeClr val="tx1"/>
                </a:solidFill>
                <a:miter lim="800000"/>
                <a:headEnd/>
                <a:tailEnd/>
              </a:ln>
            </p:spPr>
            <p:txBody>
              <a:bodyPr/>
              <a:lstStyle/>
              <a:p>
                <a:pPr>
                  <a:defRPr/>
                </a:pPr>
                <a:endParaRPr lang="en-US">
                  <a:latin typeface="+mn-lt"/>
                  <a:cs typeface="Arial" charset="0"/>
                </a:endParaRPr>
              </a:p>
            </p:txBody>
          </p:sp>
          <p:sp>
            <p:nvSpPr>
              <p:cNvPr id="612" name="Line 122"/>
              <p:cNvSpPr>
                <a:spLocks noChangeShapeType="1"/>
              </p:cNvSpPr>
              <p:nvPr/>
            </p:nvSpPr>
            <p:spPr bwMode="auto">
              <a:xfrm flipV="1">
                <a:off x="3972" y="2595"/>
                <a:ext cx="5" cy="4"/>
              </a:xfrm>
              <a:prstGeom prst="line">
                <a:avLst/>
              </a:prstGeom>
              <a:grpFill/>
              <a:ln w="9525">
                <a:solidFill>
                  <a:schemeClr val="tx1"/>
                </a:solidFill>
                <a:round/>
                <a:headEnd/>
                <a:tailEnd/>
              </a:ln>
            </p:spPr>
            <p:txBody>
              <a:bodyPr/>
              <a:lstStyle/>
              <a:p>
                <a:pPr>
                  <a:defRPr/>
                </a:pPr>
                <a:endParaRPr lang="en-US">
                  <a:latin typeface="+mn-lt"/>
                  <a:cs typeface="Arial" charset="0"/>
                </a:endParaRPr>
              </a:p>
            </p:txBody>
          </p:sp>
          <p:sp>
            <p:nvSpPr>
              <p:cNvPr id="613"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14"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15" name="Line 125"/>
              <p:cNvSpPr>
                <a:spLocks noChangeShapeType="1"/>
              </p:cNvSpPr>
              <p:nvPr/>
            </p:nvSpPr>
            <p:spPr bwMode="auto">
              <a:xfrm>
                <a:off x="3981" y="2559"/>
                <a:ext cx="2" cy="1"/>
              </a:xfrm>
              <a:prstGeom prst="line">
                <a:avLst/>
              </a:prstGeom>
              <a:grpFill/>
              <a:ln w="9525">
                <a:solidFill>
                  <a:schemeClr val="tx1"/>
                </a:solidFill>
                <a:round/>
                <a:headEnd/>
                <a:tailEnd/>
              </a:ln>
            </p:spPr>
            <p:txBody>
              <a:bodyPr/>
              <a:lstStyle/>
              <a:p>
                <a:pPr>
                  <a:defRPr/>
                </a:pPr>
                <a:endParaRPr lang="en-US">
                  <a:latin typeface="+mn-lt"/>
                  <a:cs typeface="Arial" charset="0"/>
                </a:endParaRPr>
              </a:p>
            </p:txBody>
          </p:sp>
          <p:sp>
            <p:nvSpPr>
              <p:cNvPr id="616"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17"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18" name="Line 128"/>
              <p:cNvSpPr>
                <a:spLocks noChangeShapeType="1"/>
              </p:cNvSpPr>
              <p:nvPr/>
            </p:nvSpPr>
            <p:spPr bwMode="auto">
              <a:xfrm flipV="1">
                <a:off x="3981" y="2599"/>
                <a:ext cx="1" cy="4"/>
              </a:xfrm>
              <a:prstGeom prst="line">
                <a:avLst/>
              </a:prstGeom>
              <a:grpFill/>
              <a:ln w="9525">
                <a:solidFill>
                  <a:schemeClr val="tx1"/>
                </a:solidFill>
                <a:round/>
                <a:headEnd/>
                <a:tailEnd/>
              </a:ln>
            </p:spPr>
            <p:txBody>
              <a:bodyPr/>
              <a:lstStyle/>
              <a:p>
                <a:pPr>
                  <a:defRPr/>
                </a:pPr>
                <a:endParaRPr lang="en-US">
                  <a:latin typeface="+mn-lt"/>
                  <a:cs typeface="Arial" charset="0"/>
                </a:endParaRPr>
              </a:p>
            </p:txBody>
          </p:sp>
          <p:sp>
            <p:nvSpPr>
              <p:cNvPr id="619"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20"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21"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22"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23"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24"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25"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26" name="Rectangle 136"/>
              <p:cNvSpPr>
                <a:spLocks noChangeArrowheads="1"/>
              </p:cNvSpPr>
              <p:nvPr/>
            </p:nvSpPr>
            <p:spPr bwMode="auto">
              <a:xfrm>
                <a:off x="3975" y="2632"/>
                <a:ext cx="8" cy="2"/>
              </a:xfrm>
              <a:prstGeom prst="rect">
                <a:avLst/>
              </a:prstGeom>
              <a:grpFill/>
              <a:ln w="9525">
                <a:solidFill>
                  <a:schemeClr val="tx1"/>
                </a:solidFill>
                <a:miter lim="800000"/>
                <a:headEnd/>
                <a:tailEnd/>
              </a:ln>
            </p:spPr>
            <p:txBody>
              <a:bodyPr/>
              <a:lstStyle/>
              <a:p>
                <a:pPr>
                  <a:defRPr/>
                </a:pPr>
                <a:endParaRPr lang="en-US">
                  <a:latin typeface="+mn-lt"/>
                  <a:cs typeface="Arial" charset="0"/>
                </a:endParaRPr>
              </a:p>
            </p:txBody>
          </p:sp>
          <p:sp>
            <p:nvSpPr>
              <p:cNvPr id="627" name="Line 137"/>
              <p:cNvSpPr>
                <a:spLocks noChangeShapeType="1"/>
              </p:cNvSpPr>
              <p:nvPr/>
            </p:nvSpPr>
            <p:spPr bwMode="auto">
              <a:xfrm flipV="1">
                <a:off x="3972" y="2595"/>
                <a:ext cx="5" cy="4"/>
              </a:xfrm>
              <a:prstGeom prst="line">
                <a:avLst/>
              </a:prstGeom>
              <a:grpFill/>
              <a:ln w="9525">
                <a:solidFill>
                  <a:schemeClr val="tx1"/>
                </a:solidFill>
                <a:round/>
                <a:headEnd/>
                <a:tailEnd/>
              </a:ln>
            </p:spPr>
            <p:txBody>
              <a:bodyPr/>
              <a:lstStyle/>
              <a:p>
                <a:pPr>
                  <a:defRPr/>
                </a:pPr>
                <a:endParaRPr lang="en-US">
                  <a:latin typeface="+mn-lt"/>
                  <a:cs typeface="Arial" charset="0"/>
                </a:endParaRPr>
              </a:p>
            </p:txBody>
          </p:sp>
          <p:sp>
            <p:nvSpPr>
              <p:cNvPr id="628"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29"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30" name="Line 140"/>
              <p:cNvSpPr>
                <a:spLocks noChangeShapeType="1"/>
              </p:cNvSpPr>
              <p:nvPr/>
            </p:nvSpPr>
            <p:spPr bwMode="auto">
              <a:xfrm>
                <a:off x="3981" y="2559"/>
                <a:ext cx="2" cy="1"/>
              </a:xfrm>
              <a:prstGeom prst="line">
                <a:avLst/>
              </a:prstGeom>
              <a:grpFill/>
              <a:ln w="9525">
                <a:solidFill>
                  <a:schemeClr val="tx1"/>
                </a:solidFill>
                <a:round/>
                <a:headEnd/>
                <a:tailEnd/>
              </a:ln>
            </p:spPr>
            <p:txBody>
              <a:bodyPr/>
              <a:lstStyle/>
              <a:p>
                <a:pPr>
                  <a:defRPr/>
                </a:pPr>
                <a:endParaRPr lang="en-US">
                  <a:latin typeface="+mn-lt"/>
                  <a:cs typeface="Arial" charset="0"/>
                </a:endParaRPr>
              </a:p>
            </p:txBody>
          </p:sp>
          <p:sp>
            <p:nvSpPr>
              <p:cNvPr id="631"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32"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33" name="Line 143"/>
              <p:cNvSpPr>
                <a:spLocks noChangeShapeType="1"/>
              </p:cNvSpPr>
              <p:nvPr/>
            </p:nvSpPr>
            <p:spPr bwMode="auto">
              <a:xfrm flipV="1">
                <a:off x="3981" y="2599"/>
                <a:ext cx="1" cy="4"/>
              </a:xfrm>
              <a:prstGeom prst="line">
                <a:avLst/>
              </a:prstGeom>
              <a:grpFill/>
              <a:ln w="9525">
                <a:solidFill>
                  <a:schemeClr val="tx1"/>
                </a:solidFill>
                <a:round/>
                <a:headEnd/>
                <a:tailEnd/>
              </a:ln>
            </p:spPr>
            <p:txBody>
              <a:bodyPr/>
              <a:lstStyle/>
              <a:p>
                <a:pPr>
                  <a:defRPr/>
                </a:pPr>
                <a:endParaRPr lang="en-US">
                  <a:latin typeface="+mn-lt"/>
                  <a:cs typeface="Arial" charset="0"/>
                </a:endParaRPr>
              </a:p>
            </p:txBody>
          </p:sp>
          <p:sp>
            <p:nvSpPr>
              <p:cNvPr id="634"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35"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36"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37"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38"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grpSp>
        <p:sp>
          <p:nvSpPr>
            <p:cNvPr id="37925" name="Freeform 161"/>
            <p:cNvSpPr>
              <a:spLocks/>
            </p:cNvSpPr>
            <p:nvPr>
              <p:custDataLst>
                <p:tags r:id="rId23"/>
              </p:custDataLst>
            </p:nvPr>
          </p:nvSpPr>
          <p:spPr bwMode="auto">
            <a:xfrm>
              <a:off x="3646488" y="2670175"/>
              <a:ext cx="1450975" cy="596900"/>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26" name="Freeform 181"/>
            <p:cNvSpPr>
              <a:spLocks/>
            </p:cNvSpPr>
            <p:nvPr>
              <p:custDataLst>
                <p:tags r:id="rId24"/>
              </p:custDataLst>
            </p:nvPr>
          </p:nvSpPr>
          <p:spPr bwMode="auto">
            <a:xfrm>
              <a:off x="6934200" y="6213475"/>
              <a:ext cx="3175" cy="92075"/>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27" name="Freeform 182"/>
            <p:cNvSpPr>
              <a:spLocks/>
            </p:cNvSpPr>
            <p:nvPr>
              <p:custDataLst>
                <p:tags r:id="rId25"/>
              </p:custDataLst>
            </p:nvPr>
          </p:nvSpPr>
          <p:spPr bwMode="auto">
            <a:xfrm>
              <a:off x="6946900" y="6202363"/>
              <a:ext cx="15875" cy="65087"/>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28" name="Freeform 185"/>
            <p:cNvSpPr>
              <a:spLocks/>
            </p:cNvSpPr>
            <p:nvPr>
              <p:custDataLst>
                <p:tags r:id="rId26"/>
              </p:custDataLst>
            </p:nvPr>
          </p:nvSpPr>
          <p:spPr bwMode="auto">
            <a:xfrm>
              <a:off x="6946900" y="6173788"/>
              <a:ext cx="3175" cy="28575"/>
            </a:xfrm>
            <a:custGeom>
              <a:avLst/>
              <a:gdLst>
                <a:gd name="T0" fmla="*/ 0 w 3161"/>
                <a:gd name="T1" fmla="*/ 2147483647 h 31"/>
                <a:gd name="T2" fmla="*/ 0 w 3161"/>
                <a:gd name="T3" fmla="*/ 2147483647 h 31"/>
                <a:gd name="T4" fmla="*/ 0 w 3161"/>
                <a:gd name="T5" fmla="*/ 2147483647 h 31"/>
                <a:gd name="T6" fmla="*/ 0 w 3161"/>
                <a:gd name="T7" fmla="*/ 2147483647 h 31"/>
                <a:gd name="T8" fmla="*/ 0 w 3161"/>
                <a:gd name="T9" fmla="*/ 0 h 31"/>
                <a:gd name="T10" fmla="*/ 0 60000 65536"/>
                <a:gd name="T11" fmla="*/ 0 60000 65536"/>
                <a:gd name="T12" fmla="*/ 0 60000 65536"/>
                <a:gd name="T13" fmla="*/ 0 60000 65536"/>
                <a:gd name="T14" fmla="*/ 0 60000 65536"/>
                <a:gd name="T15" fmla="*/ 0 w 3161"/>
                <a:gd name="T16" fmla="*/ 0 h 31"/>
                <a:gd name="T17" fmla="*/ 3161 w 3161"/>
                <a:gd name="T18" fmla="*/ 31 h 31"/>
              </a:gdLst>
              <a:ahLst/>
              <a:cxnLst>
                <a:cxn ang="T10">
                  <a:pos x="T0" y="T1"/>
                </a:cxn>
                <a:cxn ang="T11">
                  <a:pos x="T2" y="T3"/>
                </a:cxn>
                <a:cxn ang="T12">
                  <a:pos x="T4" y="T5"/>
                </a:cxn>
                <a:cxn ang="T13">
                  <a:pos x="T6" y="T7"/>
                </a:cxn>
                <a:cxn ang="T14">
                  <a:pos x="T8" y="T9"/>
                </a:cxn>
              </a:cxnLst>
              <a:rect l="T15" t="T16" r="T17" b="T18"/>
              <a:pathLst>
                <a:path w="3161" h="31">
                  <a:moveTo>
                    <a:pt x="0" y="31"/>
                  </a:moveTo>
                  <a:lnTo>
                    <a:pt x="0" y="22"/>
                  </a:lnTo>
                  <a:lnTo>
                    <a:pt x="0" y="15"/>
                  </a:lnTo>
                  <a:lnTo>
                    <a:pt x="0" y="8"/>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29" name="Freeform 189"/>
            <p:cNvSpPr>
              <a:spLocks/>
            </p:cNvSpPr>
            <p:nvPr>
              <p:custDataLst>
                <p:tags r:id="rId27"/>
              </p:custDataLst>
            </p:nvPr>
          </p:nvSpPr>
          <p:spPr bwMode="auto">
            <a:xfrm>
              <a:off x="6564313" y="6251575"/>
              <a:ext cx="6350" cy="1587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30" name="Freeform 190"/>
            <p:cNvSpPr>
              <a:spLocks/>
            </p:cNvSpPr>
            <p:nvPr>
              <p:custDataLst>
                <p:tags r:id="rId28"/>
              </p:custDataLst>
            </p:nvPr>
          </p:nvSpPr>
          <p:spPr bwMode="auto">
            <a:xfrm>
              <a:off x="6245225" y="6256338"/>
              <a:ext cx="73025" cy="39687"/>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31" name="Freeform 232"/>
            <p:cNvSpPr>
              <a:spLocks/>
            </p:cNvSpPr>
            <p:nvPr>
              <p:custDataLst>
                <p:tags r:id="rId29"/>
              </p:custDataLst>
            </p:nvPr>
          </p:nvSpPr>
          <p:spPr bwMode="auto">
            <a:xfrm>
              <a:off x="1438275" y="3716338"/>
              <a:ext cx="66675" cy="236537"/>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32" name="Freeform 233"/>
            <p:cNvSpPr>
              <a:spLocks/>
            </p:cNvSpPr>
            <p:nvPr>
              <p:custDataLst>
                <p:tags r:id="rId30"/>
              </p:custDataLst>
            </p:nvPr>
          </p:nvSpPr>
          <p:spPr bwMode="auto">
            <a:xfrm>
              <a:off x="1338263" y="3810000"/>
              <a:ext cx="138112" cy="234950"/>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33" name="Freeform 246"/>
            <p:cNvSpPr>
              <a:spLocks/>
            </p:cNvSpPr>
            <p:nvPr>
              <p:custDataLst>
                <p:tags r:id="rId31"/>
              </p:custDataLst>
            </p:nvPr>
          </p:nvSpPr>
          <p:spPr bwMode="auto">
            <a:xfrm>
              <a:off x="1303338" y="3598863"/>
              <a:ext cx="101600" cy="103187"/>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34" name="Freeform 256"/>
            <p:cNvSpPr>
              <a:spLocks/>
            </p:cNvSpPr>
            <p:nvPr>
              <p:custDataLst>
                <p:tags r:id="rId32"/>
              </p:custDataLst>
            </p:nvPr>
          </p:nvSpPr>
          <p:spPr bwMode="auto">
            <a:xfrm>
              <a:off x="1858963" y="3355975"/>
              <a:ext cx="1003300" cy="852488"/>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003399"/>
            </a:solidFill>
            <a:ln w="9525">
              <a:solidFill>
                <a:schemeClr val="tx1"/>
              </a:solidFill>
              <a:round/>
              <a:headEnd/>
              <a:tailEnd/>
            </a:ln>
          </p:spPr>
          <p:txBody>
            <a:bodyPr/>
            <a:lstStyle/>
            <a:p>
              <a:pPr>
                <a:defRPr/>
              </a:pPr>
              <a:endParaRPr lang="es-AR">
                <a:latin typeface="+mn-lt"/>
                <a:cs typeface="Arial" charset="0"/>
              </a:endParaRPr>
            </a:p>
          </p:txBody>
        </p:sp>
        <p:sp>
          <p:nvSpPr>
            <p:cNvPr id="37935" name="Freeform 257"/>
            <p:cNvSpPr>
              <a:spLocks/>
            </p:cNvSpPr>
            <p:nvPr>
              <p:custDataLst>
                <p:tags r:id="rId33"/>
              </p:custDataLst>
            </p:nvPr>
          </p:nvSpPr>
          <p:spPr bwMode="auto">
            <a:xfrm>
              <a:off x="1906588" y="4538663"/>
              <a:ext cx="493712" cy="41275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36" name="Freeform 258"/>
            <p:cNvSpPr>
              <a:spLocks/>
            </p:cNvSpPr>
            <p:nvPr>
              <p:custDataLst>
                <p:tags r:id="rId34"/>
              </p:custDataLst>
            </p:nvPr>
          </p:nvSpPr>
          <p:spPr bwMode="auto">
            <a:xfrm>
              <a:off x="2295525" y="4133850"/>
              <a:ext cx="241300" cy="217488"/>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37" name="Freeform 259"/>
            <p:cNvSpPr>
              <a:spLocks/>
            </p:cNvSpPr>
            <p:nvPr>
              <p:custDataLst>
                <p:tags r:id="rId35"/>
              </p:custDataLst>
            </p:nvPr>
          </p:nvSpPr>
          <p:spPr bwMode="auto">
            <a:xfrm>
              <a:off x="1673225" y="3508375"/>
              <a:ext cx="442913" cy="47307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38" name="Freeform 260"/>
            <p:cNvSpPr>
              <a:spLocks/>
            </p:cNvSpPr>
            <p:nvPr>
              <p:custDataLst>
                <p:tags r:id="rId36"/>
              </p:custDataLst>
            </p:nvPr>
          </p:nvSpPr>
          <p:spPr bwMode="auto">
            <a:xfrm>
              <a:off x="2668588" y="3436938"/>
              <a:ext cx="661987" cy="522287"/>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39" name="Freeform 261"/>
            <p:cNvSpPr>
              <a:spLocks/>
            </p:cNvSpPr>
            <p:nvPr>
              <p:custDataLst>
                <p:tags r:id="rId37"/>
              </p:custDataLst>
            </p:nvPr>
          </p:nvSpPr>
          <p:spPr bwMode="auto">
            <a:xfrm>
              <a:off x="2732088" y="3524250"/>
              <a:ext cx="727075" cy="763588"/>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40" name="Freeform 262"/>
            <p:cNvSpPr>
              <a:spLocks/>
            </p:cNvSpPr>
            <p:nvPr>
              <p:custDataLst>
                <p:tags r:id="rId38"/>
              </p:custDataLst>
            </p:nvPr>
          </p:nvSpPr>
          <p:spPr bwMode="auto">
            <a:xfrm>
              <a:off x="4306888" y="4008438"/>
              <a:ext cx="439737" cy="1054100"/>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41" name="Freeform 272"/>
            <p:cNvSpPr>
              <a:spLocks/>
            </p:cNvSpPr>
            <p:nvPr>
              <p:custDataLst>
                <p:tags r:id="rId39"/>
              </p:custDataLst>
            </p:nvPr>
          </p:nvSpPr>
          <p:spPr bwMode="auto">
            <a:xfrm>
              <a:off x="5521325" y="3167063"/>
              <a:ext cx="239713" cy="309562"/>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42" name="Freeform 273"/>
            <p:cNvSpPr>
              <a:spLocks/>
            </p:cNvSpPr>
            <p:nvPr>
              <p:custDataLst>
                <p:tags r:id="rId40"/>
              </p:custDataLst>
            </p:nvPr>
          </p:nvSpPr>
          <p:spPr bwMode="auto">
            <a:xfrm>
              <a:off x="3671888" y="3913188"/>
              <a:ext cx="411162" cy="223837"/>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43" name="Freeform 274"/>
            <p:cNvSpPr>
              <a:spLocks/>
            </p:cNvSpPr>
            <p:nvPr>
              <p:custDataLst>
                <p:tags r:id="rId41"/>
              </p:custDataLst>
            </p:nvPr>
          </p:nvSpPr>
          <p:spPr bwMode="auto">
            <a:xfrm>
              <a:off x="4102100" y="4013200"/>
              <a:ext cx="144463" cy="117475"/>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44" name="Freeform 275"/>
            <p:cNvSpPr>
              <a:spLocks/>
            </p:cNvSpPr>
            <p:nvPr>
              <p:custDataLst>
                <p:tags r:id="rId42"/>
              </p:custDataLst>
            </p:nvPr>
          </p:nvSpPr>
          <p:spPr bwMode="auto">
            <a:xfrm>
              <a:off x="4083050" y="4141788"/>
              <a:ext cx="265113" cy="300037"/>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45" name="Freeform 276"/>
            <p:cNvSpPr>
              <a:spLocks/>
            </p:cNvSpPr>
            <p:nvPr>
              <p:custDataLst>
                <p:tags r:id="rId43"/>
              </p:custDataLst>
            </p:nvPr>
          </p:nvSpPr>
          <p:spPr bwMode="auto">
            <a:xfrm>
              <a:off x="4714875" y="4351338"/>
              <a:ext cx="401638" cy="4857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46" name="Freeform 277"/>
            <p:cNvSpPr>
              <a:spLocks/>
            </p:cNvSpPr>
            <p:nvPr>
              <p:custDataLst>
                <p:tags r:id="rId44"/>
              </p:custDataLst>
            </p:nvPr>
          </p:nvSpPr>
          <p:spPr bwMode="auto">
            <a:xfrm>
              <a:off x="4879975" y="4802188"/>
              <a:ext cx="265113" cy="234950"/>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47" name="Freeform 278"/>
            <p:cNvSpPr>
              <a:spLocks/>
            </p:cNvSpPr>
            <p:nvPr>
              <p:custDataLst>
                <p:tags r:id="rId45"/>
              </p:custDataLst>
            </p:nvPr>
          </p:nvSpPr>
          <p:spPr bwMode="auto">
            <a:xfrm>
              <a:off x="5680075" y="3427413"/>
              <a:ext cx="169863" cy="234950"/>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48" name="Freeform 281"/>
            <p:cNvSpPr>
              <a:spLocks/>
            </p:cNvSpPr>
            <p:nvPr>
              <p:custDataLst>
                <p:tags r:id="rId46"/>
              </p:custDataLst>
            </p:nvPr>
          </p:nvSpPr>
          <p:spPr bwMode="auto">
            <a:xfrm>
              <a:off x="3760788" y="5073650"/>
              <a:ext cx="125412" cy="21431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grpSp>
          <p:nvGrpSpPr>
            <p:cNvPr id="5" name="Group 282"/>
            <p:cNvGrpSpPr>
              <a:grpSpLocks/>
            </p:cNvGrpSpPr>
            <p:nvPr>
              <p:custDataLst>
                <p:tags r:id="rId47"/>
              </p:custDataLst>
            </p:nvPr>
          </p:nvGrpSpPr>
          <p:grpSpPr bwMode="auto">
            <a:xfrm>
              <a:off x="5631998" y="4553585"/>
              <a:ext cx="464830" cy="791529"/>
              <a:chOff x="5062" y="2295"/>
              <a:chExt cx="177" cy="279"/>
            </a:xfrm>
            <a:solidFill>
              <a:schemeClr val="bg1"/>
            </a:solidFill>
          </p:grpSpPr>
          <p:sp>
            <p:nvSpPr>
              <p:cNvPr id="584"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85"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86"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87"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88"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89"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0"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1"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2"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3"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4"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5"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6"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7"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8"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99" name="Line 298"/>
              <p:cNvSpPr>
                <a:spLocks noChangeShapeType="1"/>
              </p:cNvSpPr>
              <p:nvPr/>
            </p:nvSpPr>
            <p:spPr bwMode="auto">
              <a:xfrm>
                <a:off x="5180" y="2449"/>
                <a:ext cx="1" cy="10"/>
              </a:xfrm>
              <a:prstGeom prst="line">
                <a:avLst/>
              </a:prstGeom>
              <a:grpFill/>
              <a:ln w="9525">
                <a:solidFill>
                  <a:schemeClr val="tx1"/>
                </a:solidFill>
                <a:round/>
                <a:headEnd/>
                <a:tailEnd/>
              </a:ln>
            </p:spPr>
            <p:txBody>
              <a:bodyPr/>
              <a:lstStyle/>
              <a:p>
                <a:pPr>
                  <a:defRPr/>
                </a:pPr>
                <a:endParaRPr lang="en-US">
                  <a:latin typeface="+mn-lt"/>
                  <a:cs typeface="Arial" charset="0"/>
                </a:endParaRPr>
              </a:p>
            </p:txBody>
          </p:sp>
          <p:sp>
            <p:nvSpPr>
              <p:cNvPr id="600"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01" name="Line 300"/>
              <p:cNvSpPr>
                <a:spLocks noChangeShapeType="1"/>
              </p:cNvSpPr>
              <p:nvPr/>
            </p:nvSpPr>
            <p:spPr bwMode="auto">
              <a:xfrm flipH="1" flipV="1">
                <a:off x="5178" y="2447"/>
                <a:ext cx="6" cy="6"/>
              </a:xfrm>
              <a:prstGeom prst="line">
                <a:avLst/>
              </a:prstGeom>
              <a:grpFill/>
              <a:ln w="9525">
                <a:solidFill>
                  <a:schemeClr val="tx1"/>
                </a:solidFill>
                <a:round/>
                <a:headEnd/>
                <a:tailEnd/>
              </a:ln>
            </p:spPr>
            <p:txBody>
              <a:bodyPr/>
              <a:lstStyle/>
              <a:p>
                <a:pPr>
                  <a:defRPr/>
                </a:pPr>
                <a:endParaRPr lang="en-US">
                  <a:latin typeface="+mn-lt"/>
                  <a:cs typeface="Arial" charset="0"/>
                </a:endParaRPr>
              </a:p>
            </p:txBody>
          </p:sp>
          <p:sp>
            <p:nvSpPr>
              <p:cNvPr id="602"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03"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04"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05"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06"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607" name="Line 306"/>
              <p:cNvSpPr>
                <a:spLocks noChangeShapeType="1"/>
              </p:cNvSpPr>
              <p:nvPr/>
            </p:nvSpPr>
            <p:spPr bwMode="auto">
              <a:xfrm flipV="1">
                <a:off x="5191" y="2516"/>
                <a:ext cx="6" cy="2"/>
              </a:xfrm>
              <a:prstGeom prst="line">
                <a:avLst/>
              </a:prstGeom>
              <a:grpFill/>
              <a:ln w="9525">
                <a:solidFill>
                  <a:schemeClr val="tx1"/>
                </a:solidFill>
                <a:round/>
                <a:headEnd/>
                <a:tailEnd/>
              </a:ln>
            </p:spPr>
            <p:txBody>
              <a:bodyPr/>
              <a:lstStyle/>
              <a:p>
                <a:pPr>
                  <a:defRPr/>
                </a:pPr>
                <a:endParaRPr lang="en-US">
                  <a:latin typeface="+mn-lt"/>
                  <a:cs typeface="Arial" charset="0"/>
                </a:endParaRPr>
              </a:p>
            </p:txBody>
          </p:sp>
        </p:grpSp>
        <p:sp>
          <p:nvSpPr>
            <p:cNvPr id="37950" name="Freeform 307"/>
            <p:cNvSpPr>
              <a:spLocks/>
            </p:cNvSpPr>
            <p:nvPr>
              <p:custDataLst>
                <p:tags r:id="rId48"/>
              </p:custDataLst>
            </p:nvPr>
          </p:nvSpPr>
          <p:spPr bwMode="auto">
            <a:xfrm>
              <a:off x="6318250" y="6027738"/>
              <a:ext cx="28575" cy="100012"/>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51" name="Freeform 308"/>
            <p:cNvSpPr>
              <a:spLocks/>
            </p:cNvSpPr>
            <p:nvPr>
              <p:custDataLst>
                <p:tags r:id="rId49"/>
              </p:custDataLst>
            </p:nvPr>
          </p:nvSpPr>
          <p:spPr bwMode="auto">
            <a:xfrm>
              <a:off x="6470650" y="5919788"/>
              <a:ext cx="42863" cy="104775"/>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52" name="Freeform 309"/>
            <p:cNvSpPr>
              <a:spLocks/>
            </p:cNvSpPr>
            <p:nvPr>
              <p:custDataLst>
                <p:tags r:id="rId50"/>
              </p:custDataLst>
            </p:nvPr>
          </p:nvSpPr>
          <p:spPr bwMode="auto">
            <a:xfrm>
              <a:off x="6564313" y="5702300"/>
              <a:ext cx="47625" cy="103188"/>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53" name="Freeform 310"/>
            <p:cNvSpPr>
              <a:spLocks/>
            </p:cNvSpPr>
            <p:nvPr>
              <p:custDataLst>
                <p:tags r:id="rId51"/>
              </p:custDataLst>
            </p:nvPr>
          </p:nvSpPr>
          <p:spPr bwMode="auto">
            <a:xfrm>
              <a:off x="6532563" y="5648325"/>
              <a:ext cx="50800" cy="103188"/>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54" name="Freeform 311"/>
            <p:cNvSpPr>
              <a:spLocks/>
            </p:cNvSpPr>
            <p:nvPr>
              <p:custDataLst>
                <p:tags r:id="rId52"/>
              </p:custDataLst>
            </p:nvPr>
          </p:nvSpPr>
          <p:spPr bwMode="auto">
            <a:xfrm>
              <a:off x="6184900" y="5462588"/>
              <a:ext cx="15875" cy="103187"/>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55" name="Freeform 312"/>
            <p:cNvSpPr>
              <a:spLocks/>
            </p:cNvSpPr>
            <p:nvPr>
              <p:custDataLst>
                <p:tags r:id="rId53"/>
              </p:custDataLst>
            </p:nvPr>
          </p:nvSpPr>
          <p:spPr bwMode="auto">
            <a:xfrm>
              <a:off x="6040438" y="5705475"/>
              <a:ext cx="60325" cy="104775"/>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56" name="Freeform 313"/>
            <p:cNvSpPr>
              <a:spLocks/>
            </p:cNvSpPr>
            <p:nvPr>
              <p:custDataLst>
                <p:tags r:id="rId54"/>
              </p:custDataLst>
            </p:nvPr>
          </p:nvSpPr>
          <p:spPr bwMode="auto">
            <a:xfrm>
              <a:off x="6056313" y="6038850"/>
              <a:ext cx="38100" cy="10001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57" name="Freeform 314"/>
            <p:cNvSpPr>
              <a:spLocks/>
            </p:cNvSpPr>
            <p:nvPr>
              <p:custDataLst>
                <p:tags r:id="rId55"/>
              </p:custDataLst>
            </p:nvPr>
          </p:nvSpPr>
          <p:spPr bwMode="auto">
            <a:xfrm>
              <a:off x="6280150" y="5713413"/>
              <a:ext cx="22225" cy="103187"/>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58" name="Freeform 315"/>
            <p:cNvSpPr>
              <a:spLocks/>
            </p:cNvSpPr>
            <p:nvPr>
              <p:custDataLst>
                <p:tags r:id="rId56"/>
              </p:custDataLst>
            </p:nvPr>
          </p:nvSpPr>
          <p:spPr bwMode="auto">
            <a:xfrm>
              <a:off x="6002338" y="5705475"/>
              <a:ext cx="38100" cy="104775"/>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59" name="Freeform 316"/>
            <p:cNvSpPr>
              <a:spLocks/>
            </p:cNvSpPr>
            <p:nvPr>
              <p:custDataLst>
                <p:tags r:id="rId57"/>
              </p:custDataLst>
            </p:nvPr>
          </p:nvSpPr>
          <p:spPr bwMode="auto">
            <a:xfrm>
              <a:off x="6091238" y="5791200"/>
              <a:ext cx="58737" cy="103188"/>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0" name="Freeform 317"/>
            <p:cNvSpPr>
              <a:spLocks/>
            </p:cNvSpPr>
            <p:nvPr>
              <p:custDataLst>
                <p:tags r:id="rId58"/>
              </p:custDataLst>
            </p:nvPr>
          </p:nvSpPr>
          <p:spPr bwMode="auto">
            <a:xfrm>
              <a:off x="5695950" y="6156325"/>
              <a:ext cx="90488" cy="106363"/>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1" name="Freeform 318"/>
            <p:cNvSpPr>
              <a:spLocks/>
            </p:cNvSpPr>
            <p:nvPr>
              <p:custDataLst>
                <p:tags r:id="rId59"/>
              </p:custDataLst>
            </p:nvPr>
          </p:nvSpPr>
          <p:spPr bwMode="auto">
            <a:xfrm>
              <a:off x="5891213" y="6224588"/>
              <a:ext cx="28575" cy="106362"/>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2" name="Freeform 319"/>
            <p:cNvSpPr>
              <a:spLocks/>
            </p:cNvSpPr>
            <p:nvPr>
              <p:custDataLst>
                <p:tags r:id="rId60"/>
              </p:custDataLst>
            </p:nvPr>
          </p:nvSpPr>
          <p:spPr bwMode="auto">
            <a:xfrm>
              <a:off x="5559425" y="6102350"/>
              <a:ext cx="73025" cy="10001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3" name="Freeform 320"/>
            <p:cNvSpPr>
              <a:spLocks/>
            </p:cNvSpPr>
            <p:nvPr>
              <p:custDataLst>
                <p:tags r:id="rId61"/>
              </p:custDataLst>
            </p:nvPr>
          </p:nvSpPr>
          <p:spPr bwMode="auto">
            <a:xfrm>
              <a:off x="5648325" y="6076950"/>
              <a:ext cx="77788" cy="100013"/>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4" name="Freeform 321"/>
            <p:cNvSpPr>
              <a:spLocks/>
            </p:cNvSpPr>
            <p:nvPr>
              <p:custDataLst>
                <p:tags r:id="rId62"/>
              </p:custDataLst>
            </p:nvPr>
          </p:nvSpPr>
          <p:spPr bwMode="auto">
            <a:xfrm>
              <a:off x="5751513" y="6094413"/>
              <a:ext cx="73025" cy="104775"/>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5" name="Freeform 322"/>
            <p:cNvSpPr>
              <a:spLocks/>
            </p:cNvSpPr>
            <p:nvPr>
              <p:custDataLst>
                <p:tags r:id="rId63"/>
              </p:custDataLst>
            </p:nvPr>
          </p:nvSpPr>
          <p:spPr bwMode="auto">
            <a:xfrm>
              <a:off x="5856288" y="6102350"/>
              <a:ext cx="50800" cy="10001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6" name="Freeform 323"/>
            <p:cNvSpPr>
              <a:spLocks/>
            </p:cNvSpPr>
            <p:nvPr>
              <p:custDataLst>
                <p:tags r:id="rId64"/>
              </p:custDataLst>
            </p:nvPr>
          </p:nvSpPr>
          <p:spPr bwMode="auto">
            <a:xfrm>
              <a:off x="6002338" y="6088063"/>
              <a:ext cx="3175" cy="10001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7" name="Freeform 324"/>
            <p:cNvSpPr>
              <a:spLocks/>
            </p:cNvSpPr>
            <p:nvPr>
              <p:custDataLst>
                <p:tags r:id="rId65"/>
              </p:custDataLst>
            </p:nvPr>
          </p:nvSpPr>
          <p:spPr bwMode="auto">
            <a:xfrm>
              <a:off x="5154613" y="5753100"/>
              <a:ext cx="41275" cy="106363"/>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8" name="Freeform 325"/>
            <p:cNvSpPr>
              <a:spLocks/>
            </p:cNvSpPr>
            <p:nvPr>
              <p:custDataLst>
                <p:tags r:id="rId66"/>
              </p:custDataLst>
            </p:nvPr>
          </p:nvSpPr>
          <p:spPr bwMode="auto">
            <a:xfrm>
              <a:off x="5046663" y="5705475"/>
              <a:ext cx="60325" cy="104775"/>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69" name="Freeform 326"/>
            <p:cNvSpPr>
              <a:spLocks/>
            </p:cNvSpPr>
            <p:nvPr>
              <p:custDataLst>
                <p:tags r:id="rId67"/>
              </p:custDataLst>
            </p:nvPr>
          </p:nvSpPr>
          <p:spPr bwMode="auto">
            <a:xfrm>
              <a:off x="4718050" y="5676900"/>
              <a:ext cx="15875" cy="103188"/>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70" name="Line 327" descr="Horizontal dunkel"/>
            <p:cNvSpPr>
              <a:spLocks noChangeShapeType="1"/>
            </p:cNvSpPr>
            <p:nvPr>
              <p:custDataLst>
                <p:tags r:id="rId68"/>
              </p:custDataLst>
            </p:nvPr>
          </p:nvSpPr>
          <p:spPr bwMode="auto">
            <a:xfrm>
              <a:off x="4768850" y="5741988"/>
              <a:ext cx="9525" cy="11112"/>
            </a:xfrm>
            <a:prstGeom prst="line">
              <a:avLst/>
            </a:prstGeom>
            <a:noFill/>
            <a:ln w="9525">
              <a:solidFill>
                <a:schemeClr val="tx1"/>
              </a:solidFill>
              <a:round/>
              <a:headEnd/>
              <a:tailEnd/>
            </a:ln>
            <a:extLst/>
          </p:spPr>
          <p:txBody>
            <a:bodyPr/>
            <a:lstStyle/>
            <a:p>
              <a:pPr>
                <a:defRPr/>
              </a:pPr>
              <a:endParaRPr lang="es-AR">
                <a:latin typeface="+mn-lt"/>
                <a:cs typeface="Arial" charset="0"/>
              </a:endParaRPr>
            </a:p>
          </p:txBody>
        </p:sp>
        <p:sp>
          <p:nvSpPr>
            <p:cNvPr id="37971" name="Freeform 328"/>
            <p:cNvSpPr>
              <a:spLocks/>
            </p:cNvSpPr>
            <p:nvPr>
              <p:custDataLst>
                <p:tags r:id="rId69"/>
              </p:custDataLst>
            </p:nvPr>
          </p:nvSpPr>
          <p:spPr bwMode="auto">
            <a:xfrm>
              <a:off x="4762500" y="5741988"/>
              <a:ext cx="15875" cy="103187"/>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72" name="Freeform 329"/>
            <p:cNvSpPr>
              <a:spLocks/>
            </p:cNvSpPr>
            <p:nvPr>
              <p:custDataLst>
                <p:tags r:id="rId70"/>
              </p:custDataLst>
            </p:nvPr>
          </p:nvSpPr>
          <p:spPr bwMode="auto">
            <a:xfrm>
              <a:off x="4565650" y="5462588"/>
              <a:ext cx="44450" cy="103187"/>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73" name="Freeform 330"/>
            <p:cNvSpPr>
              <a:spLocks/>
            </p:cNvSpPr>
            <p:nvPr>
              <p:custDataLst>
                <p:tags r:id="rId71"/>
              </p:custDataLst>
            </p:nvPr>
          </p:nvSpPr>
          <p:spPr bwMode="auto">
            <a:xfrm>
              <a:off x="5619750" y="6116638"/>
              <a:ext cx="22225" cy="103187"/>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74" name="Freeform 331"/>
            <p:cNvSpPr>
              <a:spLocks/>
            </p:cNvSpPr>
            <p:nvPr>
              <p:custDataLst>
                <p:tags r:id="rId72"/>
              </p:custDataLst>
            </p:nvPr>
          </p:nvSpPr>
          <p:spPr bwMode="auto">
            <a:xfrm>
              <a:off x="6646863" y="6038850"/>
              <a:ext cx="57150" cy="10001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75" name="Freeform 332"/>
            <p:cNvSpPr>
              <a:spLocks/>
            </p:cNvSpPr>
            <p:nvPr>
              <p:custDataLst>
                <p:tags r:id="rId73"/>
              </p:custDataLst>
            </p:nvPr>
          </p:nvSpPr>
          <p:spPr bwMode="auto">
            <a:xfrm>
              <a:off x="4532313" y="5287963"/>
              <a:ext cx="546100" cy="663575"/>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76" name="Freeform 333"/>
            <p:cNvSpPr>
              <a:spLocks/>
            </p:cNvSpPr>
            <p:nvPr>
              <p:custDataLst>
                <p:tags r:id="rId74"/>
              </p:custDataLst>
            </p:nvPr>
          </p:nvSpPr>
          <p:spPr bwMode="auto">
            <a:xfrm>
              <a:off x="5211763" y="5376863"/>
              <a:ext cx="504825" cy="461962"/>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77" name="Freeform 334"/>
            <p:cNvSpPr>
              <a:spLocks/>
            </p:cNvSpPr>
            <p:nvPr>
              <p:custDataLst>
                <p:tags r:id="rId75"/>
              </p:custDataLst>
            </p:nvPr>
          </p:nvSpPr>
          <p:spPr bwMode="auto">
            <a:xfrm>
              <a:off x="5919788" y="6108700"/>
              <a:ext cx="184150" cy="10160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78" name="Freeform 335"/>
            <p:cNvSpPr>
              <a:spLocks/>
            </p:cNvSpPr>
            <p:nvPr>
              <p:custDataLst>
                <p:tags r:id="rId76"/>
              </p:custDataLst>
            </p:nvPr>
          </p:nvSpPr>
          <p:spPr bwMode="auto">
            <a:xfrm>
              <a:off x="6149975" y="5508625"/>
              <a:ext cx="85725" cy="15875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79" name="Freeform 336"/>
            <p:cNvSpPr>
              <a:spLocks/>
            </p:cNvSpPr>
            <p:nvPr>
              <p:custDataLst>
                <p:tags r:id="rId77"/>
              </p:custDataLst>
            </p:nvPr>
          </p:nvSpPr>
          <p:spPr bwMode="auto">
            <a:xfrm>
              <a:off x="6175375" y="5767388"/>
              <a:ext cx="142875" cy="10001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0" name="Freeform 337"/>
            <p:cNvSpPr>
              <a:spLocks/>
            </p:cNvSpPr>
            <p:nvPr>
              <p:custDataLst>
                <p:tags r:id="rId78"/>
              </p:custDataLst>
            </p:nvPr>
          </p:nvSpPr>
          <p:spPr bwMode="auto">
            <a:xfrm>
              <a:off x="6327775" y="5630863"/>
              <a:ext cx="169863" cy="1143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1" name="Freeform 338"/>
            <p:cNvSpPr>
              <a:spLocks/>
            </p:cNvSpPr>
            <p:nvPr>
              <p:custDataLst>
                <p:tags r:id="rId79"/>
              </p:custDataLst>
            </p:nvPr>
          </p:nvSpPr>
          <p:spPr bwMode="auto">
            <a:xfrm>
              <a:off x="5708650" y="5519738"/>
              <a:ext cx="331788" cy="414337"/>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2" name="Freeform 339"/>
            <p:cNvSpPr>
              <a:spLocks/>
            </p:cNvSpPr>
            <p:nvPr>
              <p:custDataLst>
                <p:tags r:id="rId80"/>
              </p:custDataLst>
            </p:nvPr>
          </p:nvSpPr>
          <p:spPr bwMode="auto">
            <a:xfrm>
              <a:off x="5040313" y="5953125"/>
              <a:ext cx="500062" cy="1714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3" name="Freeform 340"/>
            <p:cNvSpPr>
              <a:spLocks/>
            </p:cNvSpPr>
            <p:nvPr>
              <p:custDataLst>
                <p:tags r:id="rId81"/>
              </p:custDataLst>
            </p:nvPr>
          </p:nvSpPr>
          <p:spPr bwMode="auto">
            <a:xfrm>
              <a:off x="6397625" y="5695950"/>
              <a:ext cx="427038" cy="4556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4" name="Freeform 341"/>
            <p:cNvSpPr>
              <a:spLocks/>
            </p:cNvSpPr>
            <p:nvPr>
              <p:custDataLst>
                <p:tags r:id="rId82"/>
              </p:custDataLst>
            </p:nvPr>
          </p:nvSpPr>
          <p:spPr bwMode="auto">
            <a:xfrm>
              <a:off x="3471863" y="3594100"/>
              <a:ext cx="107950" cy="107950"/>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5" name="Freeform 349"/>
            <p:cNvSpPr>
              <a:spLocks/>
            </p:cNvSpPr>
            <p:nvPr>
              <p:custDataLst>
                <p:tags r:id="rId83"/>
              </p:custDataLst>
            </p:nvPr>
          </p:nvSpPr>
          <p:spPr bwMode="auto">
            <a:xfrm>
              <a:off x="1812925" y="3287713"/>
              <a:ext cx="93663" cy="1143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6" name="Freeform 350"/>
            <p:cNvSpPr>
              <a:spLocks/>
            </p:cNvSpPr>
            <p:nvPr>
              <p:custDataLst>
                <p:tags r:id="rId84"/>
              </p:custDataLst>
            </p:nvPr>
          </p:nvSpPr>
          <p:spPr bwMode="auto">
            <a:xfrm>
              <a:off x="2894013" y="3313113"/>
              <a:ext cx="414337" cy="220662"/>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7" name="Freeform 351"/>
            <p:cNvSpPr>
              <a:spLocks/>
            </p:cNvSpPr>
            <p:nvPr>
              <p:custDataLst>
                <p:tags r:id="rId85"/>
              </p:custDataLst>
            </p:nvPr>
          </p:nvSpPr>
          <p:spPr bwMode="auto">
            <a:xfrm>
              <a:off x="2990850" y="3184525"/>
              <a:ext cx="449263" cy="225425"/>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8" name="Freeform 352"/>
            <p:cNvSpPr>
              <a:spLocks/>
            </p:cNvSpPr>
            <p:nvPr>
              <p:custDataLst>
                <p:tags r:id="rId86"/>
              </p:custDataLst>
            </p:nvPr>
          </p:nvSpPr>
          <p:spPr bwMode="auto">
            <a:xfrm>
              <a:off x="2208213" y="3213100"/>
              <a:ext cx="682625" cy="409575"/>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89" name="Freeform 442"/>
            <p:cNvSpPr>
              <a:spLocks/>
            </p:cNvSpPr>
            <p:nvPr>
              <p:custDataLst>
                <p:tags r:id="rId87"/>
              </p:custDataLst>
            </p:nvPr>
          </p:nvSpPr>
          <p:spPr bwMode="auto">
            <a:xfrm>
              <a:off x="1855788" y="3227388"/>
              <a:ext cx="247650" cy="196850"/>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0" name="Freeform 449"/>
            <p:cNvSpPr>
              <a:spLocks/>
            </p:cNvSpPr>
            <p:nvPr>
              <p:custDataLst>
                <p:tags r:id="rId88"/>
              </p:custDataLst>
            </p:nvPr>
          </p:nvSpPr>
          <p:spPr bwMode="auto">
            <a:xfrm>
              <a:off x="5116513" y="4476750"/>
              <a:ext cx="111125" cy="103188"/>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1" name="Freeform 460"/>
            <p:cNvSpPr>
              <a:spLocks/>
            </p:cNvSpPr>
            <p:nvPr>
              <p:custDataLst>
                <p:tags r:id="rId89"/>
              </p:custDataLst>
            </p:nvPr>
          </p:nvSpPr>
          <p:spPr bwMode="auto">
            <a:xfrm>
              <a:off x="1616075" y="3152775"/>
              <a:ext cx="300038" cy="149225"/>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2" name="Freeform 464"/>
            <p:cNvSpPr>
              <a:spLocks/>
            </p:cNvSpPr>
            <p:nvPr>
              <p:custDataLst>
                <p:tags r:id="rId90"/>
              </p:custDataLst>
            </p:nvPr>
          </p:nvSpPr>
          <p:spPr bwMode="auto">
            <a:xfrm>
              <a:off x="3124200" y="3598863"/>
              <a:ext cx="1379538" cy="1574800"/>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3" name="Freeform 467"/>
            <p:cNvSpPr>
              <a:spLocks/>
            </p:cNvSpPr>
            <p:nvPr>
              <p:custDataLst>
                <p:tags r:id="rId91"/>
              </p:custDataLst>
            </p:nvPr>
          </p:nvSpPr>
          <p:spPr bwMode="auto">
            <a:xfrm>
              <a:off x="1476375" y="3736975"/>
              <a:ext cx="203200" cy="233363"/>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4" name="Freeform 468"/>
            <p:cNvSpPr>
              <a:spLocks/>
            </p:cNvSpPr>
            <p:nvPr>
              <p:custDataLst>
                <p:tags r:id="rId92"/>
              </p:custDataLst>
            </p:nvPr>
          </p:nvSpPr>
          <p:spPr bwMode="auto">
            <a:xfrm>
              <a:off x="2071688" y="3922713"/>
              <a:ext cx="44450" cy="10001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5" name="Freeform 470"/>
            <p:cNvSpPr>
              <a:spLocks/>
            </p:cNvSpPr>
            <p:nvPr>
              <p:custDataLst>
                <p:tags r:id="rId93"/>
              </p:custDataLst>
            </p:nvPr>
          </p:nvSpPr>
          <p:spPr bwMode="auto">
            <a:xfrm>
              <a:off x="1470025" y="3662363"/>
              <a:ext cx="60325" cy="103187"/>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6" name="Freeform 481"/>
            <p:cNvSpPr>
              <a:spLocks/>
            </p:cNvSpPr>
            <p:nvPr>
              <p:custDataLst>
                <p:tags r:id="rId94"/>
              </p:custDataLst>
            </p:nvPr>
          </p:nvSpPr>
          <p:spPr bwMode="auto">
            <a:xfrm>
              <a:off x="6384925" y="3022600"/>
              <a:ext cx="38100" cy="10160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7" name="Freeform 482"/>
            <p:cNvSpPr>
              <a:spLocks/>
            </p:cNvSpPr>
            <p:nvPr>
              <p:custDataLst>
                <p:tags r:id="rId95"/>
              </p:custDataLst>
            </p:nvPr>
          </p:nvSpPr>
          <p:spPr bwMode="auto">
            <a:xfrm>
              <a:off x="6103938" y="3024188"/>
              <a:ext cx="280987" cy="2270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8" name="Freeform 483"/>
            <p:cNvSpPr>
              <a:spLocks/>
            </p:cNvSpPr>
            <p:nvPr>
              <p:custDataLst>
                <p:tags r:id="rId96"/>
              </p:custDataLst>
            </p:nvPr>
          </p:nvSpPr>
          <p:spPr bwMode="auto">
            <a:xfrm>
              <a:off x="6043613" y="3662363"/>
              <a:ext cx="103187" cy="103187"/>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7999" name="Freeform 484"/>
            <p:cNvSpPr>
              <a:spLocks/>
            </p:cNvSpPr>
            <p:nvPr>
              <p:custDataLst>
                <p:tags r:id="rId97"/>
              </p:custDataLst>
            </p:nvPr>
          </p:nvSpPr>
          <p:spPr bwMode="auto">
            <a:xfrm>
              <a:off x="5935663" y="3687763"/>
              <a:ext cx="120650" cy="150812"/>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0" name="Freeform 485"/>
            <p:cNvSpPr>
              <a:spLocks/>
            </p:cNvSpPr>
            <p:nvPr>
              <p:custDataLst>
                <p:tags r:id="rId98"/>
              </p:custDataLst>
            </p:nvPr>
          </p:nvSpPr>
          <p:spPr bwMode="auto">
            <a:xfrm>
              <a:off x="5967413" y="3259138"/>
              <a:ext cx="417512" cy="439737"/>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1" name="Freeform 486"/>
            <p:cNvSpPr>
              <a:spLocks/>
            </p:cNvSpPr>
            <p:nvPr>
              <p:custDataLst>
                <p:tags r:id="rId99"/>
              </p:custDataLst>
            </p:nvPr>
          </p:nvSpPr>
          <p:spPr bwMode="auto">
            <a:xfrm>
              <a:off x="1154113" y="1262063"/>
              <a:ext cx="215900" cy="107950"/>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2" name="Freeform 487"/>
            <p:cNvSpPr>
              <a:spLocks/>
            </p:cNvSpPr>
            <p:nvPr>
              <p:custDataLst>
                <p:tags r:id="rId100"/>
              </p:custDataLst>
            </p:nvPr>
          </p:nvSpPr>
          <p:spPr bwMode="auto">
            <a:xfrm>
              <a:off x="1438275" y="1230313"/>
              <a:ext cx="127000" cy="103187"/>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3" name="Freeform 488"/>
            <p:cNvSpPr>
              <a:spLocks/>
            </p:cNvSpPr>
            <p:nvPr>
              <p:custDataLst>
                <p:tags r:id="rId101"/>
              </p:custDataLst>
            </p:nvPr>
          </p:nvSpPr>
          <p:spPr bwMode="auto">
            <a:xfrm>
              <a:off x="1511300" y="1244600"/>
              <a:ext cx="260350" cy="103188"/>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4" name="Freeform 489"/>
            <p:cNvSpPr>
              <a:spLocks/>
            </p:cNvSpPr>
            <p:nvPr>
              <p:custDataLst>
                <p:tags r:id="rId102"/>
              </p:custDataLst>
            </p:nvPr>
          </p:nvSpPr>
          <p:spPr bwMode="auto">
            <a:xfrm>
              <a:off x="2574925" y="1579563"/>
              <a:ext cx="80963" cy="10160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5" name="Freeform 490"/>
            <p:cNvSpPr>
              <a:spLocks/>
            </p:cNvSpPr>
            <p:nvPr>
              <p:custDataLst>
                <p:tags r:id="rId103"/>
              </p:custDataLst>
            </p:nvPr>
          </p:nvSpPr>
          <p:spPr bwMode="auto">
            <a:xfrm>
              <a:off x="2393950" y="1323975"/>
              <a:ext cx="31750" cy="106363"/>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6" name="Freeform 491"/>
            <p:cNvSpPr>
              <a:spLocks/>
            </p:cNvSpPr>
            <p:nvPr>
              <p:custDataLst>
                <p:tags r:id="rId104"/>
              </p:custDataLst>
            </p:nvPr>
          </p:nvSpPr>
          <p:spPr bwMode="auto">
            <a:xfrm>
              <a:off x="2438400" y="1250950"/>
              <a:ext cx="28575" cy="1079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7" name="Freeform 492"/>
            <p:cNvSpPr>
              <a:spLocks/>
            </p:cNvSpPr>
            <p:nvPr>
              <p:custDataLst>
                <p:tags r:id="rId105"/>
              </p:custDataLst>
            </p:nvPr>
          </p:nvSpPr>
          <p:spPr bwMode="auto">
            <a:xfrm>
              <a:off x="2725738" y="1458913"/>
              <a:ext cx="34925" cy="103187"/>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8" name="Freeform 493"/>
            <p:cNvSpPr>
              <a:spLocks/>
            </p:cNvSpPr>
            <p:nvPr>
              <p:custDataLst>
                <p:tags r:id="rId106"/>
              </p:custDataLst>
            </p:nvPr>
          </p:nvSpPr>
          <p:spPr bwMode="auto">
            <a:xfrm>
              <a:off x="2833688" y="1250950"/>
              <a:ext cx="185737" cy="107950"/>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09" name="Freeform 494"/>
            <p:cNvSpPr>
              <a:spLocks/>
            </p:cNvSpPr>
            <p:nvPr>
              <p:custDataLst>
                <p:tags r:id="rId107"/>
              </p:custDataLst>
            </p:nvPr>
          </p:nvSpPr>
          <p:spPr bwMode="auto">
            <a:xfrm>
              <a:off x="2954338" y="1295400"/>
              <a:ext cx="204787" cy="109538"/>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0" name="Freeform 495"/>
            <p:cNvSpPr>
              <a:spLocks/>
            </p:cNvSpPr>
            <p:nvPr>
              <p:custDataLst>
                <p:tags r:id="rId108"/>
              </p:custDataLst>
            </p:nvPr>
          </p:nvSpPr>
          <p:spPr bwMode="auto">
            <a:xfrm>
              <a:off x="3187700" y="1322388"/>
              <a:ext cx="165100" cy="10160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1" name="Freeform 496"/>
            <p:cNvSpPr>
              <a:spLocks/>
            </p:cNvSpPr>
            <p:nvPr>
              <p:custDataLst>
                <p:tags r:id="rId109"/>
              </p:custDataLst>
            </p:nvPr>
          </p:nvSpPr>
          <p:spPr bwMode="auto">
            <a:xfrm>
              <a:off x="4237038" y="1547813"/>
              <a:ext cx="158750" cy="104775"/>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2" name="Freeform 497"/>
            <p:cNvSpPr>
              <a:spLocks/>
            </p:cNvSpPr>
            <p:nvPr>
              <p:custDataLst>
                <p:tags r:id="rId110"/>
              </p:custDataLst>
            </p:nvPr>
          </p:nvSpPr>
          <p:spPr bwMode="auto">
            <a:xfrm>
              <a:off x="4370388" y="1579563"/>
              <a:ext cx="66675" cy="10160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3" name="Freeform 498"/>
            <p:cNvSpPr>
              <a:spLocks/>
            </p:cNvSpPr>
            <p:nvPr>
              <p:custDataLst>
                <p:tags r:id="rId111"/>
              </p:custDataLst>
            </p:nvPr>
          </p:nvSpPr>
          <p:spPr bwMode="auto">
            <a:xfrm>
              <a:off x="4430713" y="1598613"/>
              <a:ext cx="104775" cy="106362"/>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4" name="Freeform 499"/>
            <p:cNvSpPr>
              <a:spLocks/>
            </p:cNvSpPr>
            <p:nvPr>
              <p:custDataLst>
                <p:tags r:id="rId112"/>
              </p:custDataLst>
            </p:nvPr>
          </p:nvSpPr>
          <p:spPr bwMode="auto">
            <a:xfrm>
              <a:off x="3975100" y="1550988"/>
              <a:ext cx="123825" cy="104775"/>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5" name="Freeform 500"/>
            <p:cNvSpPr>
              <a:spLocks/>
            </p:cNvSpPr>
            <p:nvPr>
              <p:custDataLst>
                <p:tags r:id="rId113"/>
              </p:custDataLst>
            </p:nvPr>
          </p:nvSpPr>
          <p:spPr bwMode="auto">
            <a:xfrm>
              <a:off x="4572000" y="1444625"/>
              <a:ext cx="279400" cy="103188"/>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6" name="Freeform 501"/>
            <p:cNvSpPr>
              <a:spLocks/>
            </p:cNvSpPr>
            <p:nvPr>
              <p:custDataLst>
                <p:tags r:id="rId114"/>
              </p:custDataLst>
            </p:nvPr>
          </p:nvSpPr>
          <p:spPr bwMode="auto">
            <a:xfrm>
              <a:off x="4892675" y="1458913"/>
              <a:ext cx="188913" cy="103187"/>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7" name="Freeform 502"/>
            <p:cNvSpPr>
              <a:spLocks/>
            </p:cNvSpPr>
            <p:nvPr>
              <p:custDataLst>
                <p:tags r:id="rId115"/>
              </p:custDataLst>
            </p:nvPr>
          </p:nvSpPr>
          <p:spPr bwMode="auto">
            <a:xfrm>
              <a:off x="4813300" y="1544638"/>
              <a:ext cx="125413" cy="106362"/>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8" name="Freeform 503"/>
            <p:cNvSpPr>
              <a:spLocks/>
            </p:cNvSpPr>
            <p:nvPr>
              <p:custDataLst>
                <p:tags r:id="rId116"/>
              </p:custDataLst>
            </p:nvPr>
          </p:nvSpPr>
          <p:spPr bwMode="auto">
            <a:xfrm>
              <a:off x="4772025" y="1538288"/>
              <a:ext cx="41275" cy="106362"/>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19" name="Line 504"/>
            <p:cNvSpPr>
              <a:spLocks noChangeShapeType="1"/>
            </p:cNvSpPr>
            <p:nvPr>
              <p:custDataLst>
                <p:tags r:id="rId117"/>
              </p:custDataLst>
            </p:nvPr>
          </p:nvSpPr>
          <p:spPr bwMode="auto">
            <a:xfrm flipV="1">
              <a:off x="4775200" y="1536700"/>
              <a:ext cx="0" cy="1588"/>
            </a:xfrm>
            <a:prstGeom prst="line">
              <a:avLst/>
            </a:prstGeom>
            <a:noFill/>
            <a:ln w="9525">
              <a:solidFill>
                <a:schemeClr val="tx1"/>
              </a:solidFill>
              <a:round/>
              <a:headEnd/>
              <a:tailEnd/>
            </a:ln>
            <a:extLst/>
          </p:spPr>
          <p:txBody>
            <a:bodyPr/>
            <a:lstStyle/>
            <a:p>
              <a:pPr>
                <a:defRPr/>
              </a:pPr>
              <a:endParaRPr lang="es-AR">
                <a:latin typeface="+mn-lt"/>
                <a:cs typeface="Arial" charset="0"/>
              </a:endParaRPr>
            </a:p>
          </p:txBody>
        </p:sp>
        <p:sp>
          <p:nvSpPr>
            <p:cNvPr id="38020" name="Freeform 505"/>
            <p:cNvSpPr>
              <a:spLocks/>
            </p:cNvSpPr>
            <p:nvPr>
              <p:custDataLst>
                <p:tags r:id="rId118"/>
              </p:custDataLst>
            </p:nvPr>
          </p:nvSpPr>
          <p:spPr bwMode="auto">
            <a:xfrm>
              <a:off x="3121025" y="1408113"/>
              <a:ext cx="22225" cy="10001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21" name="Freeform 506"/>
            <p:cNvSpPr>
              <a:spLocks/>
            </p:cNvSpPr>
            <p:nvPr>
              <p:custDataLst>
                <p:tags r:id="rId119"/>
              </p:custDataLst>
            </p:nvPr>
          </p:nvSpPr>
          <p:spPr bwMode="auto">
            <a:xfrm>
              <a:off x="4613275" y="1536700"/>
              <a:ext cx="19050" cy="10160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22" name="Freeform 507"/>
            <p:cNvSpPr>
              <a:spLocks/>
            </p:cNvSpPr>
            <p:nvPr>
              <p:custDataLst>
                <p:tags r:id="rId120"/>
              </p:custDataLst>
            </p:nvPr>
          </p:nvSpPr>
          <p:spPr bwMode="auto">
            <a:xfrm>
              <a:off x="4522788" y="1470025"/>
              <a:ext cx="19050" cy="103188"/>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23" name="Freeform 508"/>
            <p:cNvSpPr>
              <a:spLocks/>
            </p:cNvSpPr>
            <p:nvPr>
              <p:custDataLst>
                <p:tags r:id="rId121"/>
              </p:custDataLst>
            </p:nvPr>
          </p:nvSpPr>
          <p:spPr bwMode="auto">
            <a:xfrm>
              <a:off x="5518150" y="2495550"/>
              <a:ext cx="25400" cy="106363"/>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24" name="Freeform 509"/>
            <p:cNvSpPr>
              <a:spLocks/>
            </p:cNvSpPr>
            <p:nvPr>
              <p:custDataLst>
                <p:tags r:id="rId122"/>
              </p:custDataLst>
            </p:nvPr>
          </p:nvSpPr>
          <p:spPr bwMode="auto">
            <a:xfrm>
              <a:off x="6103938" y="1636713"/>
              <a:ext cx="109537" cy="104775"/>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25" name="Freeform 510"/>
            <p:cNvSpPr>
              <a:spLocks/>
            </p:cNvSpPr>
            <p:nvPr>
              <p:custDataLst>
                <p:tags r:id="rId123"/>
              </p:custDataLst>
            </p:nvPr>
          </p:nvSpPr>
          <p:spPr bwMode="auto">
            <a:xfrm>
              <a:off x="6375400" y="2270125"/>
              <a:ext cx="28575" cy="103188"/>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26" name="Freeform 511"/>
            <p:cNvSpPr>
              <a:spLocks/>
            </p:cNvSpPr>
            <p:nvPr>
              <p:custDataLst>
                <p:tags r:id="rId124"/>
              </p:custDataLst>
            </p:nvPr>
          </p:nvSpPr>
          <p:spPr bwMode="auto">
            <a:xfrm>
              <a:off x="6672263" y="2473325"/>
              <a:ext cx="85725" cy="107950"/>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27" name="Freeform 512"/>
            <p:cNvSpPr>
              <a:spLocks/>
            </p:cNvSpPr>
            <p:nvPr>
              <p:custDataLst>
                <p:tags r:id="rId125"/>
              </p:custDataLst>
            </p:nvPr>
          </p:nvSpPr>
          <p:spPr bwMode="auto">
            <a:xfrm>
              <a:off x="6773863" y="2501900"/>
              <a:ext cx="38100" cy="106363"/>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28" name="Freeform 513"/>
            <p:cNvSpPr>
              <a:spLocks/>
            </p:cNvSpPr>
            <p:nvPr>
              <p:custDataLst>
                <p:tags r:id="rId126"/>
              </p:custDataLst>
            </p:nvPr>
          </p:nvSpPr>
          <p:spPr bwMode="auto">
            <a:xfrm>
              <a:off x="6503988" y="2730500"/>
              <a:ext cx="28575" cy="103188"/>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29" name="Freeform 514"/>
            <p:cNvSpPr>
              <a:spLocks/>
            </p:cNvSpPr>
            <p:nvPr>
              <p:custDataLst>
                <p:tags r:id="rId127"/>
              </p:custDataLst>
            </p:nvPr>
          </p:nvSpPr>
          <p:spPr bwMode="auto">
            <a:xfrm>
              <a:off x="6526213" y="2781300"/>
              <a:ext cx="6350" cy="109538"/>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30" name="Freeform 515"/>
            <p:cNvSpPr>
              <a:spLocks/>
            </p:cNvSpPr>
            <p:nvPr>
              <p:custDataLst>
                <p:tags r:id="rId128"/>
              </p:custDataLst>
            </p:nvPr>
          </p:nvSpPr>
          <p:spPr bwMode="auto">
            <a:xfrm>
              <a:off x="6500813" y="2930525"/>
              <a:ext cx="19050" cy="10001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31" name="Freeform 516"/>
            <p:cNvSpPr>
              <a:spLocks/>
            </p:cNvSpPr>
            <p:nvPr>
              <p:custDataLst>
                <p:tags r:id="rId129"/>
              </p:custDataLst>
            </p:nvPr>
          </p:nvSpPr>
          <p:spPr bwMode="auto">
            <a:xfrm>
              <a:off x="6457950" y="2994025"/>
              <a:ext cx="0" cy="104775"/>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32" name="Freeform 517"/>
            <p:cNvSpPr>
              <a:spLocks/>
            </p:cNvSpPr>
            <p:nvPr>
              <p:custDataLst>
                <p:tags r:id="rId130"/>
              </p:custDataLst>
            </p:nvPr>
          </p:nvSpPr>
          <p:spPr bwMode="auto">
            <a:xfrm>
              <a:off x="6457950" y="2994025"/>
              <a:ext cx="15875" cy="104775"/>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33" name="Freeform 518"/>
            <p:cNvSpPr>
              <a:spLocks/>
            </p:cNvSpPr>
            <p:nvPr>
              <p:custDataLst>
                <p:tags r:id="rId131"/>
              </p:custDataLst>
            </p:nvPr>
          </p:nvSpPr>
          <p:spPr bwMode="auto">
            <a:xfrm>
              <a:off x="5967413" y="2251075"/>
              <a:ext cx="34925" cy="107950"/>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34" name="Freeform 520"/>
            <p:cNvSpPr>
              <a:spLocks/>
            </p:cNvSpPr>
            <p:nvPr>
              <p:custDataLst>
                <p:tags r:id="rId132"/>
              </p:custDataLst>
            </p:nvPr>
          </p:nvSpPr>
          <p:spPr bwMode="auto">
            <a:xfrm>
              <a:off x="1514475" y="1766888"/>
              <a:ext cx="85725" cy="106362"/>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35" name="Freeform 521"/>
            <p:cNvSpPr>
              <a:spLocks/>
            </p:cNvSpPr>
            <p:nvPr>
              <p:custDataLst>
                <p:tags r:id="rId133"/>
              </p:custDataLst>
            </p:nvPr>
          </p:nvSpPr>
          <p:spPr bwMode="auto">
            <a:xfrm>
              <a:off x="1584325" y="1430338"/>
              <a:ext cx="455613" cy="293687"/>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36" name="Freeform 522"/>
            <p:cNvSpPr>
              <a:spLocks/>
            </p:cNvSpPr>
            <p:nvPr>
              <p:custDataLst>
                <p:tags r:id="rId134"/>
              </p:custDataLst>
            </p:nvPr>
          </p:nvSpPr>
          <p:spPr bwMode="auto">
            <a:xfrm>
              <a:off x="1169988" y="1990725"/>
              <a:ext cx="63500" cy="100013"/>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37" name="Freeform 523"/>
            <p:cNvSpPr>
              <a:spLocks/>
            </p:cNvSpPr>
            <p:nvPr>
              <p:custDataLst>
                <p:tags r:id="rId135"/>
              </p:custDataLst>
            </p:nvPr>
          </p:nvSpPr>
          <p:spPr bwMode="auto">
            <a:xfrm>
              <a:off x="5761038" y="2524125"/>
              <a:ext cx="392112" cy="4841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grpSp>
          <p:nvGrpSpPr>
            <p:cNvPr id="6" name="Group 524"/>
            <p:cNvGrpSpPr>
              <a:grpSpLocks/>
            </p:cNvGrpSpPr>
            <p:nvPr>
              <p:custDataLst>
                <p:tags r:id="rId136"/>
              </p:custDataLst>
            </p:nvPr>
          </p:nvGrpSpPr>
          <p:grpSpPr bwMode="auto">
            <a:xfrm>
              <a:off x="3352109" y="2444750"/>
              <a:ext cx="1337577" cy="691515"/>
              <a:chOff x="4115" y="1551"/>
              <a:chExt cx="504" cy="244"/>
            </a:xfrm>
            <a:solidFill>
              <a:schemeClr val="bg1"/>
            </a:solidFill>
          </p:grpSpPr>
          <p:sp>
            <p:nvSpPr>
              <p:cNvPr id="582"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sp>
            <p:nvSpPr>
              <p:cNvPr id="583"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chemeClr val="tx1"/>
                </a:solidFill>
                <a:prstDash val="solid"/>
                <a:round/>
                <a:headEnd/>
                <a:tailEnd/>
              </a:ln>
            </p:spPr>
            <p:txBody>
              <a:bodyPr/>
              <a:lstStyle/>
              <a:p>
                <a:pPr>
                  <a:defRPr/>
                </a:pPr>
                <a:endParaRPr lang="en-US">
                  <a:latin typeface="+mn-lt"/>
                  <a:cs typeface="Arial" charset="0"/>
                </a:endParaRPr>
              </a:p>
            </p:txBody>
          </p:sp>
        </p:grpSp>
        <p:sp>
          <p:nvSpPr>
            <p:cNvPr id="38039" name="Freeform 527"/>
            <p:cNvSpPr>
              <a:spLocks/>
            </p:cNvSpPr>
            <p:nvPr>
              <p:custDataLst>
                <p:tags r:id="rId137"/>
              </p:custDataLst>
            </p:nvPr>
          </p:nvSpPr>
          <p:spPr bwMode="auto">
            <a:xfrm>
              <a:off x="1473200" y="3794125"/>
              <a:ext cx="1057275" cy="919163"/>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40" name="Freeform 533"/>
            <p:cNvSpPr>
              <a:spLocks/>
            </p:cNvSpPr>
            <p:nvPr>
              <p:custDataLst>
                <p:tags r:id="rId138"/>
              </p:custDataLst>
            </p:nvPr>
          </p:nvSpPr>
          <p:spPr bwMode="auto">
            <a:xfrm>
              <a:off x="1460500" y="3508375"/>
              <a:ext cx="349250" cy="285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41" name="Freeform 534"/>
            <p:cNvSpPr>
              <a:spLocks/>
            </p:cNvSpPr>
            <p:nvPr>
              <p:custDataLst>
                <p:tags r:id="rId139"/>
              </p:custDataLst>
            </p:nvPr>
          </p:nvSpPr>
          <p:spPr bwMode="auto">
            <a:xfrm>
              <a:off x="5632450" y="4194175"/>
              <a:ext cx="84138" cy="1428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grpSp>
          <p:nvGrpSpPr>
            <p:cNvPr id="7" name="Group 535"/>
            <p:cNvGrpSpPr>
              <a:grpSpLocks/>
            </p:cNvGrpSpPr>
            <p:nvPr>
              <p:custDataLst>
                <p:tags r:id="rId140"/>
              </p:custDataLst>
            </p:nvPr>
          </p:nvGrpSpPr>
          <p:grpSpPr bwMode="auto">
            <a:xfrm>
              <a:off x="945738" y="3236279"/>
              <a:ext cx="961284" cy="362902"/>
              <a:chOff x="3289" y="1830"/>
              <a:chExt cx="363" cy="128"/>
            </a:xfrm>
            <a:solidFill>
              <a:schemeClr val="bg1"/>
            </a:solidFill>
          </p:grpSpPr>
          <p:sp>
            <p:nvSpPr>
              <p:cNvPr id="578"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tx1"/>
                </a:solidFill>
                <a:prstDash val="solid"/>
                <a:round/>
                <a:headEnd type="none" w="med" len="med"/>
                <a:tailEnd type="none" w="med" len="med"/>
              </a:ln>
              <a:effectLst/>
            </p:spPr>
            <p:txBody>
              <a:bodyPr/>
              <a:lstStyle/>
              <a:p>
                <a:pPr>
                  <a:defRPr/>
                </a:pPr>
                <a:endParaRPr lang="en-US">
                  <a:latin typeface="+mn-lt"/>
                  <a:cs typeface="Arial" charset="0"/>
                </a:endParaRPr>
              </a:p>
            </p:txBody>
          </p:sp>
          <p:sp>
            <p:nvSpPr>
              <p:cNvPr id="579"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tx1"/>
                </a:solidFill>
                <a:prstDash val="solid"/>
                <a:round/>
                <a:headEnd type="none" w="med" len="med"/>
                <a:tailEnd type="none" w="med" len="med"/>
              </a:ln>
              <a:effectLst/>
            </p:spPr>
            <p:txBody>
              <a:bodyPr/>
              <a:lstStyle/>
              <a:p>
                <a:pPr>
                  <a:defRPr/>
                </a:pPr>
                <a:endParaRPr lang="en-US">
                  <a:latin typeface="+mn-lt"/>
                  <a:cs typeface="Arial" charset="0"/>
                </a:endParaRPr>
              </a:p>
            </p:txBody>
          </p:sp>
          <p:sp>
            <p:nvSpPr>
              <p:cNvPr id="580"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grpFill/>
              <a:ln w="9525" cap="flat" cmpd="sng">
                <a:solidFill>
                  <a:schemeClr val="tx1"/>
                </a:solidFill>
                <a:prstDash val="solid"/>
                <a:round/>
                <a:headEnd type="none" w="med" len="med"/>
                <a:tailEnd type="none" w="med" len="med"/>
              </a:ln>
              <a:effectLst/>
            </p:spPr>
            <p:txBody>
              <a:bodyPr/>
              <a:lstStyle/>
              <a:p>
                <a:pPr>
                  <a:defRPr/>
                </a:pPr>
                <a:endParaRPr lang="en-US">
                  <a:latin typeface="+mn-lt"/>
                  <a:cs typeface="Arial" charset="0"/>
                </a:endParaRPr>
              </a:p>
            </p:txBody>
          </p:sp>
          <p:sp>
            <p:nvSpPr>
              <p:cNvPr id="581"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chemeClr val="tx1"/>
                </a:solidFill>
                <a:prstDash val="solid"/>
                <a:round/>
                <a:headEnd type="none" w="med" len="med"/>
                <a:tailEnd type="none" w="med" len="med"/>
              </a:ln>
              <a:effectLst/>
            </p:spPr>
            <p:txBody>
              <a:bodyPr/>
              <a:lstStyle/>
              <a:p>
                <a:pPr>
                  <a:defRPr/>
                </a:pPr>
                <a:endParaRPr lang="en-US">
                  <a:latin typeface="+mn-lt"/>
                  <a:cs typeface="Arial" charset="0"/>
                </a:endParaRPr>
              </a:p>
            </p:txBody>
          </p:sp>
        </p:grpSp>
        <p:sp>
          <p:nvSpPr>
            <p:cNvPr id="38043" name="Freeform 542"/>
            <p:cNvSpPr>
              <a:spLocks/>
            </p:cNvSpPr>
            <p:nvPr>
              <p:custDataLst>
                <p:tags r:id="rId141"/>
              </p:custDataLst>
            </p:nvPr>
          </p:nvSpPr>
          <p:spPr bwMode="auto">
            <a:xfrm>
              <a:off x="4797425" y="4295775"/>
              <a:ext cx="414338" cy="8270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44" name="Freeform 543"/>
            <p:cNvSpPr>
              <a:spLocks/>
            </p:cNvSpPr>
            <p:nvPr>
              <p:custDataLst>
                <p:tags r:id="rId142"/>
              </p:custDataLst>
            </p:nvPr>
          </p:nvSpPr>
          <p:spPr bwMode="auto">
            <a:xfrm>
              <a:off x="4970463" y="5530850"/>
              <a:ext cx="50800" cy="103188"/>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003399"/>
            </a:solidFill>
            <a:ln w="9525">
              <a:solidFill>
                <a:schemeClr val="tx1"/>
              </a:solidFill>
              <a:round/>
              <a:headEnd/>
              <a:tailEnd/>
            </a:ln>
          </p:spPr>
          <p:txBody>
            <a:bodyPr/>
            <a:lstStyle/>
            <a:p>
              <a:pPr>
                <a:defRPr/>
              </a:pPr>
              <a:endParaRPr lang="es-AR">
                <a:latin typeface="+mn-lt"/>
                <a:cs typeface="Arial" charset="0"/>
              </a:endParaRPr>
            </a:p>
          </p:txBody>
        </p:sp>
        <p:sp>
          <p:nvSpPr>
            <p:cNvPr id="38045" name="Freeform 544"/>
            <p:cNvSpPr>
              <a:spLocks/>
            </p:cNvSpPr>
            <p:nvPr>
              <p:custDataLst>
                <p:tags r:id="rId143"/>
              </p:custDataLst>
            </p:nvPr>
          </p:nvSpPr>
          <p:spPr bwMode="auto">
            <a:xfrm>
              <a:off x="2365375" y="4195763"/>
              <a:ext cx="347663" cy="488950"/>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46" name="Freeform 548"/>
            <p:cNvSpPr>
              <a:spLocks/>
            </p:cNvSpPr>
            <p:nvPr>
              <p:custDataLst>
                <p:tags r:id="rId144"/>
              </p:custDataLst>
            </p:nvPr>
          </p:nvSpPr>
          <p:spPr bwMode="auto">
            <a:xfrm>
              <a:off x="1584325" y="1651000"/>
              <a:ext cx="215900" cy="107950"/>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47" name="Freeform 549"/>
            <p:cNvSpPr>
              <a:spLocks/>
            </p:cNvSpPr>
            <p:nvPr>
              <p:custDataLst>
                <p:tags r:id="rId145"/>
              </p:custDataLst>
            </p:nvPr>
          </p:nvSpPr>
          <p:spPr bwMode="auto">
            <a:xfrm>
              <a:off x="1868488" y="1619250"/>
              <a:ext cx="127000" cy="103188"/>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sp>
          <p:nvSpPr>
            <p:cNvPr id="38048" name="Freeform 550"/>
            <p:cNvSpPr>
              <a:spLocks/>
            </p:cNvSpPr>
            <p:nvPr>
              <p:custDataLst>
                <p:tags r:id="rId146"/>
              </p:custDataLst>
            </p:nvPr>
          </p:nvSpPr>
          <p:spPr bwMode="auto">
            <a:xfrm>
              <a:off x="1941513" y="1633538"/>
              <a:ext cx="260350" cy="103187"/>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solidFill>
            <a:ln w="9525">
              <a:solidFill>
                <a:schemeClr val="tx1"/>
              </a:solidFill>
              <a:round/>
              <a:headEnd/>
              <a:tailEnd/>
            </a:ln>
          </p:spPr>
          <p:txBody>
            <a:bodyPr/>
            <a:lstStyle/>
            <a:p>
              <a:pPr>
                <a:defRPr/>
              </a:pPr>
              <a:endParaRPr lang="es-AR">
                <a:latin typeface="+mn-lt"/>
                <a:cs typeface="Arial" charset="0"/>
              </a:endParaRPr>
            </a:p>
          </p:txBody>
        </p:sp>
      </p:grpSp>
      <p:sp>
        <p:nvSpPr>
          <p:cNvPr id="37892" name="Text Box 8"/>
          <p:cNvSpPr txBox="1">
            <a:spLocks noChangeArrowheads="1"/>
          </p:cNvSpPr>
          <p:nvPr/>
        </p:nvSpPr>
        <p:spPr bwMode="auto">
          <a:xfrm>
            <a:off x="7518400" y="3756025"/>
            <a:ext cx="1857375"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defRPr/>
            </a:pPr>
            <a:r>
              <a:rPr lang="es-ES_tradnl" altLang="es-ES_tradnl" sz="2800" b="1" dirty="0">
                <a:solidFill>
                  <a:srgbClr val="000066"/>
                </a:solidFill>
                <a:latin typeface="+mn-lt"/>
              </a:rPr>
              <a:t>TAILANDIA</a:t>
            </a:r>
          </a:p>
        </p:txBody>
      </p:sp>
      <p:sp>
        <p:nvSpPr>
          <p:cNvPr id="37893" name="Text Box 18"/>
          <p:cNvSpPr txBox="1">
            <a:spLocks noChangeArrowheads="1"/>
          </p:cNvSpPr>
          <p:nvPr/>
        </p:nvSpPr>
        <p:spPr bwMode="auto">
          <a:xfrm rot="10800000" flipV="1">
            <a:off x="7510463" y="4165600"/>
            <a:ext cx="1771650" cy="3079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AR" altLang="es-ES_tradnl" sz="1400" dirty="0" err="1">
                <a:latin typeface="+mn-lt"/>
              </a:rPr>
              <a:t>Khon</a:t>
            </a:r>
            <a:r>
              <a:rPr lang="es-AR" altLang="es-ES_tradnl" sz="1400" dirty="0">
                <a:latin typeface="+mn-lt"/>
              </a:rPr>
              <a:t> </a:t>
            </a:r>
            <a:r>
              <a:rPr lang="es-AR" altLang="es-ES_tradnl" sz="1400" dirty="0" err="1">
                <a:latin typeface="+mn-lt"/>
              </a:rPr>
              <a:t>Kaen</a:t>
            </a:r>
            <a:r>
              <a:rPr lang="es-AR" altLang="es-ES_tradnl" sz="1400" dirty="0">
                <a:latin typeface="+mn-lt"/>
              </a:rPr>
              <a:t> </a:t>
            </a:r>
            <a:r>
              <a:rPr lang="en-US" altLang="es-ES_tradnl" sz="1400" dirty="0">
                <a:latin typeface="+mn-lt"/>
              </a:rPr>
              <a:t>University</a:t>
            </a:r>
            <a:endParaRPr lang="es-ES_tradnl" altLang="es-ES_tradnl" sz="1400" dirty="0">
              <a:solidFill>
                <a:schemeClr val="tx1"/>
              </a:solidFill>
              <a:latin typeface="+mn-lt"/>
              <a:cs typeface="Times New Roman" pitchFamily="18" charset="0"/>
            </a:endParaRPr>
          </a:p>
        </p:txBody>
      </p:sp>
      <p:sp>
        <p:nvSpPr>
          <p:cNvPr id="37894" name="Text Box 18"/>
          <p:cNvSpPr txBox="1">
            <a:spLocks noChangeArrowheads="1"/>
          </p:cNvSpPr>
          <p:nvPr/>
        </p:nvSpPr>
        <p:spPr bwMode="auto">
          <a:xfrm rot="10800000" flipV="1">
            <a:off x="7131050" y="5464175"/>
            <a:ext cx="2192338"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fr-FR" altLang="es-ES_tradnl" sz="1400" dirty="0" err="1">
                <a:latin typeface="+mn-lt"/>
              </a:rPr>
              <a:t>Regional</a:t>
            </a:r>
            <a:r>
              <a:rPr lang="fr-FR" altLang="es-ES_tradnl" sz="1400" dirty="0">
                <a:latin typeface="+mn-lt"/>
              </a:rPr>
              <a:t> </a:t>
            </a:r>
            <a:r>
              <a:rPr lang="fr-FR" altLang="es-ES_tradnl" sz="1400" dirty="0" err="1">
                <a:latin typeface="+mn-lt"/>
              </a:rPr>
              <a:t>Language</a:t>
            </a:r>
            <a:r>
              <a:rPr lang="fr-FR" altLang="es-ES_tradnl" sz="1400" dirty="0">
                <a:latin typeface="+mn-lt"/>
              </a:rPr>
              <a:t> Centre</a:t>
            </a:r>
            <a:br>
              <a:rPr lang="fr-FR" altLang="es-ES_tradnl" sz="1400" dirty="0">
                <a:latin typeface="+mn-lt"/>
              </a:rPr>
            </a:br>
            <a:r>
              <a:rPr lang="fr-FR" altLang="es-ES_tradnl" sz="1400" dirty="0" err="1">
                <a:latin typeface="+mn-lt"/>
              </a:rPr>
              <a:t>Examinations</a:t>
            </a:r>
            <a:r>
              <a:rPr lang="fr-FR" altLang="es-ES_tradnl" sz="1400" dirty="0">
                <a:latin typeface="+mn-lt"/>
              </a:rPr>
              <a:t> Bureau</a:t>
            </a:r>
            <a:endParaRPr lang="es-ES_tradnl" altLang="es-ES_tradnl" sz="1400" dirty="0">
              <a:solidFill>
                <a:schemeClr val="tx1"/>
              </a:solidFill>
              <a:latin typeface="+mn-lt"/>
              <a:cs typeface="Times New Roman" pitchFamily="18" charset="0"/>
            </a:endParaRPr>
          </a:p>
        </p:txBody>
      </p:sp>
      <p:sp>
        <p:nvSpPr>
          <p:cNvPr id="37895" name="Text Box 8"/>
          <p:cNvSpPr txBox="1">
            <a:spLocks noChangeArrowheads="1"/>
          </p:cNvSpPr>
          <p:nvPr/>
        </p:nvSpPr>
        <p:spPr bwMode="auto">
          <a:xfrm>
            <a:off x="7299325" y="5053013"/>
            <a:ext cx="2301875"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defRPr/>
            </a:pPr>
            <a:r>
              <a:rPr lang="es-ES_tradnl" altLang="es-ES_tradnl" sz="2800" b="1" dirty="0">
                <a:solidFill>
                  <a:srgbClr val="000066"/>
                </a:solidFill>
                <a:latin typeface="+mn-lt"/>
              </a:rPr>
              <a:t>SINGAPUR</a:t>
            </a:r>
          </a:p>
        </p:txBody>
      </p:sp>
      <p:sp>
        <p:nvSpPr>
          <p:cNvPr id="37896" name="Line 13"/>
          <p:cNvSpPr>
            <a:spLocks noChangeShapeType="1"/>
          </p:cNvSpPr>
          <p:nvPr/>
        </p:nvSpPr>
        <p:spPr bwMode="auto">
          <a:xfrm flipV="1">
            <a:off x="4889500" y="4208463"/>
            <a:ext cx="2641600" cy="569912"/>
          </a:xfrm>
          <a:prstGeom prst="line">
            <a:avLst/>
          </a:prstGeom>
          <a:noFill/>
          <a:ln w="12700">
            <a:solidFill>
              <a:schemeClr val="tx1"/>
            </a:solidFill>
            <a:round/>
            <a:headEnd/>
            <a:tailEnd type="triangle" w="med" len="med"/>
          </a:ln>
          <a:extLst/>
        </p:spPr>
        <p:txBody>
          <a:bodyPr wrap="none"/>
          <a:lstStyle/>
          <a:p>
            <a:pPr>
              <a:defRPr/>
            </a:pPr>
            <a:endParaRPr lang="es-AR">
              <a:latin typeface="+mn-lt"/>
              <a:cs typeface="Arial" charset="0"/>
            </a:endParaRPr>
          </a:p>
        </p:txBody>
      </p:sp>
      <p:sp>
        <p:nvSpPr>
          <p:cNvPr id="37897" name="Line 13"/>
          <p:cNvSpPr>
            <a:spLocks noChangeShapeType="1"/>
          </p:cNvSpPr>
          <p:nvPr/>
        </p:nvSpPr>
        <p:spPr bwMode="auto">
          <a:xfrm flipV="1">
            <a:off x="5013325" y="5434013"/>
            <a:ext cx="2197100" cy="163512"/>
          </a:xfrm>
          <a:prstGeom prst="line">
            <a:avLst/>
          </a:prstGeom>
          <a:noFill/>
          <a:ln w="12700">
            <a:solidFill>
              <a:schemeClr val="tx1"/>
            </a:solidFill>
            <a:round/>
            <a:headEnd/>
            <a:tailEnd type="triangle" w="med" len="med"/>
          </a:ln>
          <a:extLst/>
        </p:spPr>
        <p:txBody>
          <a:bodyPr wrap="none"/>
          <a:lstStyle/>
          <a:p>
            <a:pPr>
              <a:defRPr/>
            </a:pPr>
            <a:endParaRPr lang="es-AR">
              <a:latin typeface="+mn-lt"/>
              <a:cs typeface="Arial" charset="0"/>
            </a:endParaRPr>
          </a:p>
        </p:txBody>
      </p:sp>
      <p:sp>
        <p:nvSpPr>
          <p:cNvPr id="37898" name="Line 13"/>
          <p:cNvSpPr>
            <a:spLocks noChangeShapeType="1"/>
          </p:cNvSpPr>
          <p:nvPr/>
        </p:nvSpPr>
        <p:spPr bwMode="auto">
          <a:xfrm flipH="1">
            <a:off x="1370013" y="3736975"/>
            <a:ext cx="900112" cy="1400175"/>
          </a:xfrm>
          <a:prstGeom prst="line">
            <a:avLst/>
          </a:prstGeom>
          <a:noFill/>
          <a:ln w="12700">
            <a:solidFill>
              <a:schemeClr val="tx1"/>
            </a:solidFill>
            <a:round/>
            <a:headEnd/>
            <a:tailEnd type="triangle" w="med" len="med"/>
          </a:ln>
          <a:extLst/>
        </p:spPr>
        <p:txBody>
          <a:bodyPr wrap="none"/>
          <a:lstStyle/>
          <a:p>
            <a:pPr>
              <a:defRPr/>
            </a:pPr>
            <a:endParaRPr lang="es-AR">
              <a:latin typeface="+mn-lt"/>
              <a:cs typeface="Arial" charset="0"/>
            </a:endParaRPr>
          </a:p>
        </p:txBody>
      </p:sp>
      <p:sp>
        <p:nvSpPr>
          <p:cNvPr id="37899" name="Text Box 8"/>
          <p:cNvSpPr txBox="1">
            <a:spLocks noChangeArrowheads="1"/>
          </p:cNvSpPr>
          <p:nvPr/>
        </p:nvSpPr>
        <p:spPr bwMode="auto">
          <a:xfrm>
            <a:off x="258763" y="5151438"/>
            <a:ext cx="2190750" cy="52387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a:defRPr/>
            </a:pPr>
            <a:r>
              <a:rPr lang="es-ES_tradnl" altLang="es-ES_tradnl" sz="2800" b="1" dirty="0">
                <a:solidFill>
                  <a:srgbClr val="000066"/>
                </a:solidFill>
                <a:latin typeface="+mn-lt"/>
              </a:rPr>
              <a:t>IRÁN</a:t>
            </a:r>
          </a:p>
        </p:txBody>
      </p:sp>
      <p:sp>
        <p:nvSpPr>
          <p:cNvPr id="37900" name="Text Box 18"/>
          <p:cNvSpPr txBox="1">
            <a:spLocks noChangeArrowheads="1"/>
          </p:cNvSpPr>
          <p:nvPr/>
        </p:nvSpPr>
        <p:spPr bwMode="auto">
          <a:xfrm rot="10800000" flipV="1">
            <a:off x="168275" y="5487988"/>
            <a:ext cx="2360613" cy="738187"/>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Bef>
                <a:spcPct val="50000"/>
              </a:spcBef>
              <a:defRPr/>
            </a:pPr>
            <a:r>
              <a:rPr lang="es-ES" altLang="es-ES_tradnl" sz="1400" dirty="0">
                <a:latin typeface="+mn-lt"/>
              </a:rPr>
              <a:t>Instituto Jorge Luis Borges Formación de español en Teherán*</a:t>
            </a:r>
            <a:endParaRPr lang="es-ES_tradnl" altLang="es-ES_tradnl" sz="1400" dirty="0">
              <a:solidFill>
                <a:schemeClr val="tx1"/>
              </a:solidFill>
              <a:latin typeface="+mn-lt"/>
              <a:cs typeface="Times New Roman" pitchFamily="18" charset="0"/>
            </a:endParaRPr>
          </a:p>
        </p:txBody>
      </p:sp>
      <p:sp>
        <p:nvSpPr>
          <p:cNvPr id="37902" name="Text Box 6"/>
          <p:cNvSpPr txBox="1">
            <a:spLocks noChangeArrowheads="1"/>
          </p:cNvSpPr>
          <p:nvPr/>
        </p:nvSpPr>
        <p:spPr bwMode="auto">
          <a:xfrm>
            <a:off x="2913063" y="6511925"/>
            <a:ext cx="5470525" cy="276225"/>
          </a:xfrm>
          <a:prstGeom prst="rect">
            <a:avLst/>
          </a:prstGeom>
          <a:noFill/>
          <a:ln>
            <a:noFill/>
          </a:ln>
          <a:extLst/>
        </p:spPr>
        <p:txBody>
          <a:bodyP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eaLnBrk="1" hangingPunct="1">
              <a:spcBef>
                <a:spcPct val="50000"/>
              </a:spcBef>
              <a:defRPr/>
            </a:pPr>
            <a:r>
              <a:rPr lang="es-ES" altLang="es-ES_tradnl" sz="1200" dirty="0">
                <a:solidFill>
                  <a:schemeClr val="tx1"/>
                </a:solidFill>
                <a:latin typeface="+mn-lt"/>
                <a:cs typeface="Times New Roman" pitchFamily="18" charset="0"/>
              </a:rPr>
              <a:t>* Nueva Sede en 2014/2015</a:t>
            </a:r>
            <a:endParaRPr lang="es-ES" altLang="es-ES_tradnl" sz="1200" i="1" dirty="0">
              <a:solidFill>
                <a:schemeClr val="tx1"/>
              </a:solidFill>
              <a:latin typeface="+mn-lt"/>
              <a:cs typeface="Times New Roman" pitchFamily="18" charset="0"/>
            </a:endParaRPr>
          </a:p>
        </p:txBody>
      </p:sp>
      <p:sp>
        <p:nvSpPr>
          <p:cNvPr id="35854"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E80FACF2-887E-48B5-96A0-96A0CE0DB761}" type="slidenum">
              <a:rPr lang="es-ES_tradnl" altLang="es-AR" sz="1000" i="1">
                <a:solidFill>
                  <a:srgbClr val="000000"/>
                </a:solidFill>
                <a:latin typeface="Verdana" panose="020B0604030504040204" pitchFamily="34" charset="0"/>
              </a:rPr>
              <a:pPr algn="r" eaLnBrk="1" hangingPunct="1">
                <a:spcBef>
                  <a:spcPct val="0"/>
                </a:spcBef>
                <a:buFontTx/>
                <a:buNone/>
              </a:pPr>
              <a:t>33</a:t>
            </a:fld>
            <a:endParaRPr lang="es-ES_tradnl" altLang="es-AR" sz="1000" i="1">
              <a:solidFill>
                <a:srgbClr val="000000"/>
              </a:solidFill>
              <a:latin typeface="Verdana" panose="020B0604030504040204" pitchFamily="34" charset="0"/>
            </a:endParaRPr>
          </a:p>
        </p:txBody>
      </p:sp>
    </p:spTree>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2"/>
          <p:cNvSpPr>
            <a:spLocks noGrp="1" noChangeArrowheads="1"/>
          </p:cNvSpPr>
          <p:nvPr>
            <p:ph type="title" idx="4294967295"/>
          </p:nvPr>
        </p:nvSpPr>
        <p:spPr>
          <a:xfrm>
            <a:off x="193675" y="79375"/>
            <a:ext cx="8915400" cy="1143000"/>
          </a:xfrm>
        </p:spPr>
        <p:txBody>
          <a:bodyPr/>
          <a:lstStyle/>
          <a:p>
            <a:pPr eaLnBrk="1" hangingPunct="1">
              <a:defRPr/>
            </a:pPr>
            <a:r>
              <a:rPr lang="es-ES_tradnl" sz="4000" dirty="0">
                <a:solidFill>
                  <a:srgbClr val="002060"/>
                </a:solidFill>
                <a:latin typeface="+mj-lt"/>
              </a:rPr>
              <a:t>¿Quiénes pueden rendirlo?</a:t>
            </a:r>
          </a:p>
        </p:txBody>
      </p:sp>
      <p:sp>
        <p:nvSpPr>
          <p:cNvPr id="53250" name="Rectangle 3"/>
          <p:cNvSpPr>
            <a:spLocks noGrp="1" noChangeArrowheads="1"/>
          </p:cNvSpPr>
          <p:nvPr>
            <p:ph idx="4294967295"/>
          </p:nvPr>
        </p:nvSpPr>
        <p:spPr>
          <a:xfrm>
            <a:off x="2312988" y="1528763"/>
            <a:ext cx="7154862" cy="4525962"/>
          </a:xfrm>
          <a:solidFill>
            <a:schemeClr val="tx2">
              <a:lumMod val="20000"/>
              <a:lumOff val="80000"/>
            </a:schemeClr>
          </a:solidFill>
        </p:spPr>
        <p:txBody>
          <a:bodyPr/>
          <a:lstStyle/>
          <a:p>
            <a:pPr eaLnBrk="1" hangingPunct="1">
              <a:buFont typeface="Wingdings" pitchFamily="2" charset="2"/>
              <a:buNone/>
              <a:defRPr/>
            </a:pPr>
            <a:endParaRPr lang="es-ES_tradnl" sz="1400" dirty="0">
              <a:solidFill>
                <a:srgbClr val="000066"/>
              </a:solidFill>
            </a:endParaRPr>
          </a:p>
          <a:p>
            <a:pPr marL="901700" lvl="1" indent="-444500" eaLnBrk="1" hangingPunct="1">
              <a:buFont typeface="Arial" charset="0"/>
              <a:buChar char="–"/>
              <a:defRPr/>
            </a:pPr>
            <a:r>
              <a:rPr lang="es-ES_tradnl" dirty="0">
                <a:solidFill>
                  <a:srgbClr val="000066"/>
                </a:solidFill>
              </a:rPr>
              <a:t>extranjeros mayores de 16 años,</a:t>
            </a:r>
          </a:p>
          <a:p>
            <a:pPr marL="901700" lvl="1" indent="-444500" eaLnBrk="1" hangingPunct="1">
              <a:buFont typeface="Arial" charset="0"/>
              <a:buChar char="–"/>
              <a:defRPr/>
            </a:pPr>
            <a:r>
              <a:rPr lang="es-ES_tradnl" dirty="0">
                <a:solidFill>
                  <a:srgbClr val="000066"/>
                </a:solidFill>
              </a:rPr>
              <a:t>con lengua materna distinta del español,</a:t>
            </a:r>
          </a:p>
          <a:p>
            <a:pPr marL="901700" lvl="1" indent="-444500" eaLnBrk="1" hangingPunct="1">
              <a:buFont typeface="Arial" charset="0"/>
              <a:buChar char="–"/>
              <a:defRPr/>
            </a:pPr>
            <a:r>
              <a:rPr lang="es-ES_tradnl" dirty="0">
                <a:solidFill>
                  <a:srgbClr val="000066"/>
                </a:solidFill>
              </a:rPr>
              <a:t>con instrucción escolar en su primera lengua, </a:t>
            </a:r>
          </a:p>
          <a:p>
            <a:pPr marL="901700" lvl="1" indent="-444500" eaLnBrk="1" hangingPunct="1">
              <a:buFont typeface="Arial" charset="0"/>
              <a:buChar char="–"/>
              <a:defRPr/>
            </a:pPr>
            <a:r>
              <a:rPr lang="es-ES_tradnl" b="1" dirty="0">
                <a:solidFill>
                  <a:srgbClr val="000066"/>
                </a:solidFill>
              </a:rPr>
              <a:t>Excepcionalmente</a:t>
            </a:r>
            <a:r>
              <a:rPr lang="es-ES_tradnl" dirty="0">
                <a:solidFill>
                  <a:srgbClr val="000066"/>
                </a:solidFill>
              </a:rPr>
              <a:t>: de lengua materna española, pero con una constancia de residir y haber cursado, como mínimo, los años de escuela secundaria en un país de habla oficial diferente del español.</a:t>
            </a:r>
          </a:p>
          <a:p>
            <a:pPr marL="901700" lvl="1" indent="-444500" eaLnBrk="1" hangingPunct="1">
              <a:buFont typeface="Wingdings" pitchFamily="2" charset="2"/>
              <a:buNone/>
              <a:defRPr/>
            </a:pPr>
            <a:endParaRPr lang="es-ES_tradnl" dirty="0">
              <a:solidFill>
                <a:srgbClr val="000066"/>
              </a:solidFill>
            </a:endParaRPr>
          </a:p>
          <a:p>
            <a:pPr marL="901700" indent="-444500" eaLnBrk="1" hangingPunct="1">
              <a:buFont typeface="Wingdings" pitchFamily="2" charset="2"/>
              <a:buNone/>
              <a:defRPr/>
            </a:pPr>
            <a:endParaRPr lang="es-ES_tradnl" dirty="0">
              <a:solidFill>
                <a:srgbClr val="000066"/>
              </a:solidFill>
            </a:endParaRPr>
          </a:p>
        </p:txBody>
      </p:sp>
      <p:sp>
        <p:nvSpPr>
          <p:cNvPr id="36868"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73BCC17D-B474-41EF-B6B9-CC21137A0E4C}" type="slidenum">
              <a:rPr lang="es-ES_tradnl" altLang="es-AR" sz="1000" i="1">
                <a:solidFill>
                  <a:srgbClr val="000000"/>
                </a:solidFill>
                <a:latin typeface="Verdana" panose="020B0604030504040204" pitchFamily="34" charset="0"/>
              </a:rPr>
              <a:pPr algn="r" eaLnBrk="1" hangingPunct="1">
                <a:spcBef>
                  <a:spcPct val="0"/>
                </a:spcBef>
                <a:buFontTx/>
                <a:buNone/>
              </a:pPr>
              <a:t>34</a:t>
            </a:fld>
            <a:endParaRPr lang="es-ES_tradnl" altLang="es-AR" sz="1000" i="1">
              <a:solidFill>
                <a:srgbClr val="000000"/>
              </a:solidFill>
              <a:latin typeface="Verdana" panose="020B0604030504040204" pitchFamily="34" charset="0"/>
            </a:endParaRPr>
          </a:p>
        </p:txBody>
      </p:sp>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2 Título"/>
          <p:cNvSpPr>
            <a:spLocks noGrp="1"/>
          </p:cNvSpPr>
          <p:nvPr>
            <p:ph type="title" idx="4294967295"/>
          </p:nvPr>
        </p:nvSpPr>
        <p:spPr>
          <a:xfrm>
            <a:off x="1081088" y="455613"/>
            <a:ext cx="7688262" cy="976312"/>
          </a:xfrm>
        </p:spPr>
        <p:txBody>
          <a:bodyPr/>
          <a:lstStyle/>
          <a:p>
            <a:pPr eaLnBrk="1" hangingPunct="1">
              <a:defRPr/>
            </a:pPr>
            <a:r>
              <a:rPr lang="es-ES" sz="4000" dirty="0">
                <a:solidFill>
                  <a:srgbClr val="002060"/>
                </a:solidFill>
                <a:latin typeface="+mj-lt"/>
              </a:rPr>
              <a:t>Inscripción, aranceles y</a:t>
            </a:r>
            <a:br>
              <a:rPr lang="es-ES" sz="4000" dirty="0">
                <a:solidFill>
                  <a:srgbClr val="002060"/>
                </a:solidFill>
                <a:latin typeface="+mj-lt"/>
              </a:rPr>
            </a:br>
            <a:r>
              <a:rPr lang="es-ES" sz="4000" dirty="0">
                <a:solidFill>
                  <a:srgbClr val="002060"/>
                </a:solidFill>
                <a:latin typeface="+mj-lt"/>
              </a:rPr>
              <a:t>formas de pago</a:t>
            </a:r>
            <a:endParaRPr lang="es-AR" sz="4000" dirty="0">
              <a:solidFill>
                <a:srgbClr val="002060"/>
              </a:solidFill>
              <a:latin typeface="+mj-lt"/>
            </a:endParaRPr>
          </a:p>
        </p:txBody>
      </p:sp>
      <p:sp>
        <p:nvSpPr>
          <p:cNvPr id="55300" name="Rectangle 3"/>
          <p:cNvSpPr txBox="1">
            <a:spLocks noChangeArrowheads="1"/>
          </p:cNvSpPr>
          <p:nvPr/>
        </p:nvSpPr>
        <p:spPr bwMode="auto">
          <a:xfrm>
            <a:off x="604838" y="1579563"/>
            <a:ext cx="8701087" cy="5021262"/>
          </a:xfrm>
          <a:prstGeom prst="rect">
            <a:avLst/>
          </a:prstGeom>
          <a:solidFill>
            <a:schemeClr val="tx2">
              <a:lumMod val="20000"/>
              <a:lumOff val="80000"/>
            </a:schemeClr>
          </a:solidFill>
          <a:ln w="9525">
            <a:noFill/>
            <a:miter lim="800000"/>
            <a:headEnd/>
            <a:tailEnd/>
          </a:ln>
        </p:spPr>
        <p:txBody>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eaLnBrk="0" fontAlgn="base" hangingPunct="0">
              <a:spcBef>
                <a:spcPct val="0"/>
              </a:spcBef>
              <a:spcAft>
                <a:spcPct val="0"/>
              </a:spcAft>
              <a:defRPr sz="1600">
                <a:solidFill>
                  <a:srgbClr val="000000"/>
                </a:solidFill>
                <a:latin typeface="Verdana" pitchFamily="34" charset="0"/>
                <a:cs typeface="Arial" charset="0"/>
              </a:defRPr>
            </a:lvl6pPr>
            <a:lvl7pPr marL="2971800" indent="-228600" eaLnBrk="0" fontAlgn="base" hangingPunct="0">
              <a:spcBef>
                <a:spcPct val="0"/>
              </a:spcBef>
              <a:spcAft>
                <a:spcPct val="0"/>
              </a:spcAft>
              <a:defRPr sz="1600">
                <a:solidFill>
                  <a:srgbClr val="000000"/>
                </a:solidFill>
                <a:latin typeface="Verdana" pitchFamily="34" charset="0"/>
                <a:cs typeface="Arial" charset="0"/>
              </a:defRPr>
            </a:lvl7pPr>
            <a:lvl8pPr marL="3429000" indent="-228600" eaLnBrk="0" fontAlgn="base" hangingPunct="0">
              <a:spcBef>
                <a:spcPct val="0"/>
              </a:spcBef>
              <a:spcAft>
                <a:spcPct val="0"/>
              </a:spcAft>
              <a:defRPr sz="1600">
                <a:solidFill>
                  <a:srgbClr val="000000"/>
                </a:solidFill>
                <a:latin typeface="Verdana" pitchFamily="34" charset="0"/>
                <a:cs typeface="Arial" charset="0"/>
              </a:defRPr>
            </a:lvl8pPr>
            <a:lvl9pPr marL="3886200" indent="-228600" eaLnBrk="0" fontAlgn="base" hangingPunct="0">
              <a:spcBef>
                <a:spcPct val="0"/>
              </a:spcBef>
              <a:spcAft>
                <a:spcPct val="0"/>
              </a:spcAft>
              <a:defRPr sz="1600">
                <a:solidFill>
                  <a:srgbClr val="000000"/>
                </a:solidFill>
                <a:latin typeface="Verdana" pitchFamily="34" charset="0"/>
                <a:cs typeface="Arial" charset="0"/>
              </a:defRPr>
            </a:lvl9pPr>
          </a:lstStyle>
          <a:p>
            <a:pPr algn="ctr" eaLnBrk="1" hangingPunct="1">
              <a:spcAft>
                <a:spcPts val="600"/>
              </a:spcAft>
              <a:buClr>
                <a:srgbClr val="003399"/>
              </a:buClr>
              <a:buFont typeface="Wingdings" pitchFamily="2" charset="2"/>
              <a:buChar char="ü"/>
              <a:defRPr/>
            </a:pPr>
            <a:endParaRPr lang="es-ES" sz="1050" dirty="0">
              <a:solidFill>
                <a:srgbClr val="000066"/>
              </a:solidFill>
              <a:latin typeface="+mn-lt"/>
              <a:ea typeface="Verdana" pitchFamily="34" charset="0"/>
              <a:cs typeface="Verdana" pitchFamily="34" charset="0"/>
            </a:endParaRPr>
          </a:p>
          <a:p>
            <a:pPr algn="ctr" eaLnBrk="1" hangingPunct="1">
              <a:spcAft>
                <a:spcPts val="600"/>
              </a:spcAft>
              <a:buClr>
                <a:srgbClr val="003399"/>
              </a:buClr>
              <a:buFont typeface="Wingdings" pitchFamily="2" charset="2"/>
              <a:buChar char="ü"/>
              <a:defRPr/>
            </a:pPr>
            <a:r>
              <a:rPr lang="es-ES" sz="2000" dirty="0">
                <a:solidFill>
                  <a:srgbClr val="000066"/>
                </a:solidFill>
                <a:latin typeface="+mn-lt"/>
                <a:ea typeface="Verdana" pitchFamily="34" charset="0"/>
                <a:cs typeface="Verdana" pitchFamily="34" charset="0"/>
              </a:rPr>
              <a:t>Completar el formulario en </a:t>
            </a:r>
            <a:r>
              <a:rPr lang="es-ES" sz="2000" b="1" dirty="0">
                <a:solidFill>
                  <a:srgbClr val="000066"/>
                </a:solidFill>
                <a:latin typeface="+mn-lt"/>
                <a:ea typeface="Verdana" pitchFamily="34" charset="0"/>
                <a:cs typeface="Verdana" pitchFamily="34" charset="0"/>
              </a:rPr>
              <a:t>www.celu.edu.ar </a:t>
            </a:r>
          </a:p>
          <a:p>
            <a:pPr algn="ctr" eaLnBrk="1" hangingPunct="1">
              <a:spcAft>
                <a:spcPts val="600"/>
              </a:spcAft>
              <a:buClr>
                <a:srgbClr val="003399"/>
              </a:buClr>
              <a:buFont typeface="Wingdings" pitchFamily="2" charset="2"/>
              <a:buChar char="ü"/>
              <a:defRPr/>
            </a:pPr>
            <a:r>
              <a:rPr lang="es-ES" sz="2000" dirty="0">
                <a:solidFill>
                  <a:srgbClr val="000066"/>
                </a:solidFill>
                <a:latin typeface="+mn-lt"/>
                <a:ea typeface="Verdana" pitchFamily="34" charset="0"/>
                <a:cs typeface="Verdana" pitchFamily="34" charset="0"/>
              </a:rPr>
              <a:t>Luego, pagar el arancel:</a:t>
            </a:r>
          </a:p>
          <a:p>
            <a:pPr algn="ctr" eaLnBrk="1" hangingPunct="1">
              <a:spcAft>
                <a:spcPts val="600"/>
              </a:spcAft>
              <a:buFont typeface="Wingdings" pitchFamily="2" charset="2"/>
              <a:buNone/>
              <a:defRPr/>
            </a:pPr>
            <a:r>
              <a:rPr lang="es-ES" sz="2000" b="1" dirty="0">
                <a:solidFill>
                  <a:srgbClr val="000066"/>
                </a:solidFill>
                <a:latin typeface="+mn-lt"/>
                <a:ea typeface="Verdana" pitchFamily="34" charset="0"/>
                <a:cs typeface="Verdana" pitchFamily="34" charset="0"/>
              </a:rPr>
              <a:t>$ 500 </a:t>
            </a:r>
            <a:r>
              <a:rPr lang="es-ES" sz="2000" dirty="0">
                <a:solidFill>
                  <a:srgbClr val="000066"/>
                </a:solidFill>
                <a:latin typeface="+mn-lt"/>
                <a:ea typeface="Verdana" pitchFamily="34" charset="0"/>
                <a:cs typeface="Verdana" pitchFamily="34" charset="0"/>
              </a:rPr>
              <a:t>en la Argentina </a:t>
            </a:r>
          </a:p>
          <a:p>
            <a:pPr algn="ctr" eaLnBrk="1" hangingPunct="1">
              <a:spcAft>
                <a:spcPts val="600"/>
              </a:spcAft>
              <a:buFont typeface="Wingdings" pitchFamily="2" charset="2"/>
              <a:buNone/>
              <a:defRPr/>
            </a:pPr>
            <a:r>
              <a:rPr lang="es-ES" sz="2000" b="1" dirty="0">
                <a:solidFill>
                  <a:srgbClr val="000066"/>
                </a:solidFill>
                <a:latin typeface="+mn-lt"/>
                <a:ea typeface="Verdana" pitchFamily="34" charset="0"/>
                <a:cs typeface="Verdana" pitchFamily="34" charset="0"/>
              </a:rPr>
              <a:t>R$ 160 </a:t>
            </a:r>
            <a:r>
              <a:rPr lang="es-ES" sz="2000" dirty="0">
                <a:solidFill>
                  <a:srgbClr val="000066"/>
                </a:solidFill>
                <a:latin typeface="+mn-lt"/>
                <a:ea typeface="Verdana" pitchFamily="34" charset="0"/>
                <a:cs typeface="Verdana" pitchFamily="34" charset="0"/>
              </a:rPr>
              <a:t>en Brasil</a:t>
            </a:r>
          </a:p>
          <a:p>
            <a:pPr algn="ctr" eaLnBrk="1" hangingPunct="1">
              <a:spcAft>
                <a:spcPts val="600"/>
              </a:spcAft>
              <a:buFont typeface="Wingdings" pitchFamily="2" charset="2"/>
              <a:buNone/>
              <a:defRPr/>
            </a:pPr>
            <a:r>
              <a:rPr lang="es-ES" sz="2000" b="1" dirty="0">
                <a:solidFill>
                  <a:srgbClr val="000066"/>
                </a:solidFill>
                <a:latin typeface="+mn-lt"/>
                <a:ea typeface="Verdana" pitchFamily="34" charset="0"/>
                <a:cs typeface="Verdana" pitchFamily="34" charset="0"/>
              </a:rPr>
              <a:t>€ 80 </a:t>
            </a:r>
            <a:r>
              <a:rPr lang="es-ES" sz="2000" dirty="0">
                <a:solidFill>
                  <a:srgbClr val="000066"/>
                </a:solidFill>
                <a:latin typeface="+mn-lt"/>
                <a:ea typeface="Verdana" pitchFamily="34" charset="0"/>
                <a:cs typeface="Verdana" pitchFamily="34" charset="0"/>
              </a:rPr>
              <a:t>en Europa</a:t>
            </a:r>
          </a:p>
          <a:p>
            <a:pPr algn="ctr" eaLnBrk="1" hangingPunct="1">
              <a:spcAft>
                <a:spcPts val="600"/>
              </a:spcAft>
              <a:defRPr/>
            </a:pPr>
            <a:r>
              <a:rPr lang="es-AR" sz="2000" b="1" dirty="0">
                <a:solidFill>
                  <a:srgbClr val="000066"/>
                </a:solidFill>
                <a:latin typeface="+mn-lt"/>
              </a:rPr>
              <a:t>100 USD</a:t>
            </a:r>
            <a:r>
              <a:rPr lang="es-ES" sz="2000" b="1" dirty="0">
                <a:solidFill>
                  <a:srgbClr val="000066"/>
                </a:solidFill>
                <a:latin typeface="+mn-lt"/>
                <a:ea typeface="Verdana" pitchFamily="34" charset="0"/>
                <a:cs typeface="Verdana" pitchFamily="34" charset="0"/>
              </a:rPr>
              <a:t> </a:t>
            </a:r>
            <a:r>
              <a:rPr lang="es-AR" sz="2000" dirty="0">
                <a:solidFill>
                  <a:srgbClr val="000066"/>
                </a:solidFill>
                <a:latin typeface="+mn-lt"/>
              </a:rPr>
              <a:t>en Estados Unidos</a:t>
            </a:r>
            <a:endParaRPr lang="es-ES" sz="2000" dirty="0">
              <a:solidFill>
                <a:srgbClr val="000066"/>
              </a:solidFill>
              <a:latin typeface="+mn-lt"/>
              <a:ea typeface="Verdana" pitchFamily="34" charset="0"/>
              <a:cs typeface="Verdana" pitchFamily="34" charset="0"/>
            </a:endParaRPr>
          </a:p>
          <a:p>
            <a:pPr algn="ctr" eaLnBrk="1" hangingPunct="1">
              <a:spcAft>
                <a:spcPts val="600"/>
              </a:spcAft>
              <a:buFont typeface="Wingdings" pitchFamily="2" charset="2"/>
              <a:buNone/>
              <a:defRPr/>
            </a:pPr>
            <a:r>
              <a:rPr lang="sv-SE" sz="2000" b="1" dirty="0">
                <a:solidFill>
                  <a:srgbClr val="000066"/>
                </a:solidFill>
                <a:latin typeface="+mn-lt"/>
                <a:ea typeface="Verdana" pitchFamily="34" charset="0"/>
                <a:cs typeface="Verdana" pitchFamily="34" charset="0"/>
              </a:rPr>
              <a:t>2.200 Bahts </a:t>
            </a:r>
            <a:r>
              <a:rPr lang="sv-SE" sz="2000" dirty="0">
                <a:solidFill>
                  <a:srgbClr val="000066"/>
                </a:solidFill>
                <a:latin typeface="+mn-lt"/>
                <a:ea typeface="Verdana" pitchFamily="34" charset="0"/>
                <a:cs typeface="Verdana" pitchFamily="34" charset="0"/>
              </a:rPr>
              <a:t>en Tailandia</a:t>
            </a:r>
            <a:br>
              <a:rPr lang="sv-SE" sz="2000" dirty="0">
                <a:solidFill>
                  <a:srgbClr val="000066"/>
                </a:solidFill>
                <a:latin typeface="+mn-lt"/>
                <a:ea typeface="Verdana" pitchFamily="34" charset="0"/>
                <a:cs typeface="Verdana" pitchFamily="34" charset="0"/>
              </a:rPr>
            </a:br>
            <a:r>
              <a:rPr lang="sv-SE" sz="2000" b="1" dirty="0">
                <a:solidFill>
                  <a:srgbClr val="000066"/>
                </a:solidFill>
                <a:latin typeface="+mn-lt"/>
                <a:ea typeface="Verdana" pitchFamily="34" charset="0"/>
                <a:cs typeface="Verdana" pitchFamily="34" charset="0"/>
              </a:rPr>
              <a:t>180 SGD </a:t>
            </a:r>
            <a:r>
              <a:rPr lang="sv-SE" sz="2000" dirty="0">
                <a:solidFill>
                  <a:srgbClr val="000066"/>
                </a:solidFill>
                <a:latin typeface="+mn-lt"/>
                <a:ea typeface="Verdana" pitchFamily="34" charset="0"/>
                <a:cs typeface="Verdana" pitchFamily="34" charset="0"/>
              </a:rPr>
              <a:t>(Singapore Dollars) en Singapur</a:t>
            </a:r>
          </a:p>
          <a:p>
            <a:pPr algn="ctr" eaLnBrk="1" hangingPunct="1">
              <a:spcAft>
                <a:spcPts val="600"/>
              </a:spcAft>
              <a:buFont typeface="Wingdings" pitchFamily="2" charset="2"/>
              <a:buNone/>
              <a:defRPr/>
            </a:pPr>
            <a:r>
              <a:rPr lang="sv-SE" sz="2000" b="1" dirty="0">
                <a:solidFill>
                  <a:srgbClr val="000066"/>
                </a:solidFill>
                <a:latin typeface="+mn-lt"/>
                <a:ea typeface="Verdana" pitchFamily="34" charset="0"/>
                <a:cs typeface="Verdana" pitchFamily="34" charset="0"/>
              </a:rPr>
              <a:t>900.000 Riales</a:t>
            </a:r>
            <a:r>
              <a:rPr lang="sv-SE" sz="2000" dirty="0">
                <a:solidFill>
                  <a:srgbClr val="000066"/>
                </a:solidFill>
                <a:latin typeface="+mn-lt"/>
                <a:ea typeface="Verdana" pitchFamily="34" charset="0"/>
                <a:cs typeface="Verdana" pitchFamily="34" charset="0"/>
              </a:rPr>
              <a:t> en Irán</a:t>
            </a:r>
          </a:p>
          <a:p>
            <a:pPr algn="ctr" eaLnBrk="1" hangingPunct="1">
              <a:spcAft>
                <a:spcPts val="600"/>
              </a:spcAft>
              <a:buFont typeface="Wingdings" pitchFamily="2" charset="2"/>
              <a:buNone/>
              <a:defRPr/>
            </a:pPr>
            <a:r>
              <a:rPr lang="sv-SE" sz="2000" b="1" dirty="0">
                <a:solidFill>
                  <a:srgbClr val="000066"/>
                </a:solidFill>
                <a:latin typeface="+mn-lt"/>
                <a:ea typeface="Verdana" pitchFamily="34" charset="0"/>
                <a:cs typeface="Verdana" pitchFamily="34" charset="0"/>
              </a:rPr>
              <a:t>4000 RUB</a:t>
            </a:r>
            <a:r>
              <a:rPr lang="sv-SE" sz="2000" dirty="0">
                <a:solidFill>
                  <a:srgbClr val="000066"/>
                </a:solidFill>
                <a:latin typeface="+mn-lt"/>
                <a:ea typeface="Verdana" pitchFamily="34" charset="0"/>
                <a:cs typeface="Verdana" pitchFamily="34" charset="0"/>
              </a:rPr>
              <a:t> en Rusia</a:t>
            </a:r>
            <a:endParaRPr lang="es-ES" sz="800" dirty="0">
              <a:solidFill>
                <a:srgbClr val="000066"/>
              </a:solidFill>
              <a:latin typeface="+mn-lt"/>
              <a:ea typeface="Verdana" pitchFamily="34" charset="0"/>
              <a:cs typeface="Verdana" pitchFamily="34" charset="0"/>
            </a:endParaRPr>
          </a:p>
          <a:p>
            <a:pPr algn="ctr" eaLnBrk="1" hangingPunct="1">
              <a:spcAft>
                <a:spcPts val="600"/>
              </a:spcAft>
              <a:buClr>
                <a:srgbClr val="003399"/>
              </a:buClr>
              <a:buFont typeface="Wingdings" pitchFamily="2" charset="2"/>
              <a:buNone/>
              <a:defRPr/>
            </a:pPr>
            <a:r>
              <a:rPr lang="es-ES" sz="2000" dirty="0">
                <a:solidFill>
                  <a:srgbClr val="000066"/>
                </a:solidFill>
                <a:latin typeface="+mn-lt"/>
                <a:ea typeface="Verdana" pitchFamily="34" charset="0"/>
                <a:cs typeface="Verdana" pitchFamily="34" charset="0"/>
              </a:rPr>
              <a:t>Los medios de pago son:</a:t>
            </a:r>
          </a:p>
          <a:p>
            <a:pPr algn="ctr" eaLnBrk="1" hangingPunct="1">
              <a:buClr>
                <a:srgbClr val="003399"/>
              </a:buClr>
              <a:buFont typeface="Wingdings" pitchFamily="2" charset="2"/>
              <a:buNone/>
              <a:defRPr/>
            </a:pPr>
            <a:r>
              <a:rPr lang="es-ES" sz="2000" b="1" dirty="0">
                <a:solidFill>
                  <a:srgbClr val="000066"/>
                </a:solidFill>
                <a:latin typeface="+mn-lt"/>
                <a:ea typeface="Verdana" pitchFamily="34" charset="0"/>
                <a:cs typeface="Verdana" pitchFamily="34" charset="0"/>
              </a:rPr>
              <a:t>A- Tarjeta de crédito </a:t>
            </a:r>
          </a:p>
          <a:p>
            <a:pPr algn="ctr" eaLnBrk="1" hangingPunct="1">
              <a:buFont typeface="Wingdings" pitchFamily="2" charset="2"/>
              <a:buNone/>
              <a:defRPr/>
            </a:pPr>
            <a:r>
              <a:rPr lang="es-ES" sz="2000" b="1" dirty="0">
                <a:solidFill>
                  <a:srgbClr val="000066"/>
                </a:solidFill>
                <a:latin typeface="+mn-lt"/>
                <a:ea typeface="Verdana" pitchFamily="34" charset="0"/>
                <a:cs typeface="Verdana" pitchFamily="34" charset="0"/>
              </a:rPr>
              <a:t>B- Transferencia o depósito bancario </a:t>
            </a:r>
            <a:r>
              <a:rPr lang="es-ES" sz="2000" dirty="0">
                <a:solidFill>
                  <a:srgbClr val="000066"/>
                </a:solidFill>
                <a:latin typeface="+mn-lt"/>
                <a:ea typeface="Verdana" pitchFamily="34" charset="0"/>
                <a:cs typeface="Verdana" pitchFamily="34" charset="0"/>
              </a:rPr>
              <a:t>(</a:t>
            </a:r>
            <a:r>
              <a:rPr lang="es-ES" sz="1800" dirty="0">
                <a:solidFill>
                  <a:srgbClr val="000066"/>
                </a:solidFill>
                <a:latin typeface="+mn-lt"/>
                <a:ea typeface="Verdana" pitchFamily="34" charset="0"/>
                <a:cs typeface="Verdana" pitchFamily="34" charset="0"/>
              </a:rPr>
              <a:t>solo en sedes de Argentina y Brasil</a:t>
            </a:r>
            <a:r>
              <a:rPr lang="es-ES" sz="2000" dirty="0">
                <a:solidFill>
                  <a:srgbClr val="000066"/>
                </a:solidFill>
                <a:latin typeface="+mn-lt"/>
              </a:rPr>
              <a:t>)</a:t>
            </a:r>
          </a:p>
        </p:txBody>
      </p:sp>
      <p:sp>
        <p:nvSpPr>
          <p:cNvPr id="37892"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BBEA2524-814A-44D3-88FD-C8D6B744B19F}" type="slidenum">
              <a:rPr lang="es-ES_tradnl" altLang="es-AR" sz="1000" i="1">
                <a:solidFill>
                  <a:srgbClr val="000000"/>
                </a:solidFill>
                <a:latin typeface="Verdana" panose="020B0604030504040204" pitchFamily="34" charset="0"/>
              </a:rPr>
              <a:pPr algn="r" eaLnBrk="1" hangingPunct="1">
                <a:spcBef>
                  <a:spcPct val="0"/>
                </a:spcBef>
                <a:buFontTx/>
                <a:buNone/>
              </a:pPr>
              <a:t>35</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idx="4294967295"/>
          </p:nvPr>
        </p:nvSpPr>
        <p:spPr>
          <a:xfrm>
            <a:off x="990600" y="1600200"/>
            <a:ext cx="8915400" cy="1143000"/>
          </a:xfrm>
        </p:spPr>
        <p:txBody>
          <a:bodyPr/>
          <a:lstStyle/>
          <a:p>
            <a:pPr eaLnBrk="1" hangingPunct="1"/>
            <a:r>
              <a:rPr lang="es-ES_tradnl" altLang="es-AR" sz="4000">
                <a:solidFill>
                  <a:srgbClr val="002060"/>
                </a:solidFill>
                <a:latin typeface="Calibri" panose="020F0502020204030204" pitchFamily="34" charset="0"/>
              </a:rPr>
              <a:t>Inscripción, consultas e informes</a:t>
            </a:r>
          </a:p>
        </p:txBody>
      </p:sp>
      <p:pic>
        <p:nvPicPr>
          <p:cNvPr id="39939" name="Picture 4" descr="contacto"/>
          <p:cNvPicPr>
            <a:picLocks noGrp="1" noChangeAspect="1" noChangeArrowheads="1"/>
          </p:cNvPicPr>
          <p:nvPr>
            <p:ph idx="4294967295"/>
          </p:nvPr>
        </p:nvPicPr>
        <p:blipFill>
          <a:blip r:embed="rId3" cstate="print">
            <a:extLst>
              <a:ext uri="{28A0092B-C50C-407E-A947-70E740481C1C}">
                <a14:useLocalDpi xmlns="" xmlns:a14="http://schemas.microsoft.com/office/drawing/2010/main" val="0"/>
              </a:ext>
            </a:extLst>
          </a:blip>
          <a:srcRect/>
          <a:stretch>
            <a:fillRect/>
          </a:stretch>
        </p:blipFill>
        <p:spPr>
          <a:xfrm>
            <a:off x="3459163" y="3173413"/>
            <a:ext cx="1493837" cy="1419225"/>
          </a:xfrm>
        </p:spPr>
      </p:pic>
      <p:sp>
        <p:nvSpPr>
          <p:cNvPr id="39940" name="Rectangle 3"/>
          <p:cNvSpPr>
            <a:spLocks noGrp="1" noChangeArrowheads="1"/>
          </p:cNvSpPr>
          <p:nvPr>
            <p:ph type="body" idx="4294967295"/>
          </p:nvPr>
        </p:nvSpPr>
        <p:spPr>
          <a:xfrm>
            <a:off x="5083175" y="3154363"/>
            <a:ext cx="4011613" cy="1695450"/>
          </a:xfrm>
        </p:spPr>
        <p:txBody>
          <a:bodyPr/>
          <a:lstStyle/>
          <a:p>
            <a:pPr eaLnBrk="1" hangingPunct="1">
              <a:buFont typeface="Wingdings" panose="05000000000000000000" pitchFamily="2" charset="2"/>
              <a:buNone/>
            </a:pPr>
            <a:r>
              <a:rPr lang="es-ES_tradnl" altLang="es-AR" sz="4000" b="1">
                <a:solidFill>
                  <a:srgbClr val="000066"/>
                </a:solidFill>
              </a:rPr>
              <a:t>www.celu.edu.ar  </a:t>
            </a:r>
          </a:p>
          <a:p>
            <a:pPr eaLnBrk="1" hangingPunct="1">
              <a:buFont typeface="Wingdings" panose="05000000000000000000" pitchFamily="2" charset="2"/>
              <a:buNone/>
            </a:pPr>
            <a:r>
              <a:rPr lang="es-ES_tradnl" altLang="es-AR" sz="4000" b="1">
                <a:solidFill>
                  <a:srgbClr val="000066"/>
                </a:solidFill>
              </a:rPr>
              <a:t>info@celu.edu.ar   </a:t>
            </a:r>
          </a:p>
          <a:p>
            <a:pPr eaLnBrk="1" hangingPunct="1">
              <a:buFont typeface="Wingdings" panose="05000000000000000000" pitchFamily="2" charset="2"/>
              <a:buNone/>
            </a:pPr>
            <a:r>
              <a:rPr lang="es-ES_tradnl" altLang="es-AR" sz="4000" b="1">
                <a:solidFill>
                  <a:srgbClr val="000066"/>
                </a:solidFill>
              </a:rPr>
              <a:t>     </a:t>
            </a:r>
          </a:p>
          <a:p>
            <a:pPr eaLnBrk="1" hangingPunct="1">
              <a:buFont typeface="Wingdings" panose="05000000000000000000" pitchFamily="2" charset="2"/>
              <a:buNone/>
            </a:pPr>
            <a:r>
              <a:rPr lang="es-ES_tradnl" altLang="es-AR" sz="4000" b="1">
                <a:solidFill>
                  <a:srgbClr val="000066"/>
                </a:solidFill>
              </a:rPr>
              <a:t>					</a:t>
            </a:r>
          </a:p>
        </p:txBody>
      </p:sp>
      <p:sp>
        <p:nvSpPr>
          <p:cNvPr id="39941"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CEF100DF-6E97-44B6-AF6D-559284F9DAF8}" type="slidenum">
              <a:rPr lang="es-ES_tradnl" altLang="es-AR" sz="1000" i="1">
                <a:solidFill>
                  <a:srgbClr val="000000"/>
                </a:solidFill>
                <a:latin typeface="Verdana" panose="020B0604030504040204" pitchFamily="34" charset="0"/>
              </a:rPr>
              <a:pPr algn="r" eaLnBrk="1" hangingPunct="1">
                <a:spcBef>
                  <a:spcPct val="0"/>
                </a:spcBef>
                <a:buFontTx/>
                <a:buNone/>
              </a:pPr>
              <a:t>36</a:t>
            </a:fld>
            <a:endParaRPr lang="es-ES_tradnl" altLang="es-AR" sz="1000" i="1">
              <a:solidFill>
                <a:srgbClr val="000000"/>
              </a:solidFill>
              <a:latin typeface="Verdana" panose="020B0604030504040204" pitchFamily="34" charset="0"/>
            </a:endParaRPr>
          </a:p>
        </p:txBody>
      </p:sp>
    </p:spTree>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txBox="1">
            <a:spLocks noChangeArrowheads="1"/>
          </p:cNvSpPr>
          <p:nvPr/>
        </p:nvSpPr>
        <p:spPr bwMode="auto">
          <a:xfrm>
            <a:off x="2362200" y="1698625"/>
            <a:ext cx="7010400" cy="3121025"/>
          </a:xfrm>
          <a:prstGeom prst="rect">
            <a:avLst/>
          </a:prstGeom>
          <a:noFill/>
          <a:ln w="9525">
            <a:solidFill>
              <a:srgbClr val="3366CC"/>
            </a:solidFill>
            <a:miter lim="800000"/>
            <a:headEnd/>
            <a:tailEnd/>
          </a:ln>
          <a:extLst>
            <a:ext uri="{909E8E84-426E-40DD-AFC4-6F175D3DCCD1}">
              <a14:hiddenFill xmlns="" xmlns:a14="http://schemas.microsoft.com/office/drawing/2010/main">
                <a:solidFill>
                  <a:srgbClr val="FFFFFF"/>
                </a:solidFill>
              </a14:hiddenFill>
            </a:ext>
          </a:extLst>
        </p:spPr>
        <p:txBody>
          <a:bodyPr/>
          <a:lstStyle>
            <a:lvl1pPr marL="342900" indent="-342900"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endParaRPr lang="es-AR" altLang="es-AR" sz="2000">
              <a:solidFill>
                <a:srgbClr val="000066"/>
              </a:solidFill>
            </a:endParaRPr>
          </a:p>
          <a:p>
            <a:pPr eaLnBrk="1" hangingPunct="1">
              <a:buFont typeface="Wingdings" panose="05000000000000000000" pitchFamily="2" charset="2"/>
              <a:buNone/>
            </a:pPr>
            <a:r>
              <a:rPr lang="es-AR" altLang="es-AR" sz="2000">
                <a:solidFill>
                  <a:srgbClr val="000066"/>
                </a:solidFill>
              </a:rPr>
              <a:t>         </a:t>
            </a:r>
          </a:p>
          <a:p>
            <a:pPr algn="r" eaLnBrk="1" hangingPunct="1">
              <a:buFont typeface="Wingdings" panose="05000000000000000000" pitchFamily="2" charset="2"/>
              <a:buNone/>
            </a:pPr>
            <a:r>
              <a:rPr lang="es-AR" altLang="es-AR" sz="2000" b="1">
                <a:solidFill>
                  <a:srgbClr val="000066"/>
                </a:solidFill>
              </a:rPr>
              <a:t> </a:t>
            </a:r>
            <a:r>
              <a:rPr lang="es-AR" altLang="es-AR" b="1">
                <a:solidFill>
                  <a:srgbClr val="000066"/>
                </a:solidFill>
              </a:rPr>
              <a:t>“Saber una lengua significa ser capaz de usarla adecuadamente en una comunidad de habla” </a:t>
            </a:r>
          </a:p>
          <a:p>
            <a:pPr algn="r" eaLnBrk="1" hangingPunct="1">
              <a:buFont typeface="Wingdings" panose="05000000000000000000" pitchFamily="2" charset="2"/>
              <a:buNone/>
            </a:pPr>
            <a:r>
              <a:rPr lang="es-AR" altLang="es-AR" sz="1400" b="1">
                <a:solidFill>
                  <a:srgbClr val="000066"/>
                </a:solidFill>
              </a:rPr>
              <a:t>							              (Scaramucci, 2003)</a:t>
            </a:r>
          </a:p>
          <a:p>
            <a:pPr eaLnBrk="1" hangingPunct="1"/>
            <a:endParaRPr lang="es-AR" altLang="es-AR" sz="1400">
              <a:solidFill>
                <a:srgbClr val="000066"/>
              </a:solidFill>
            </a:endParaRPr>
          </a:p>
          <a:p>
            <a:pPr eaLnBrk="1" hangingPunct="1">
              <a:buFont typeface="Wingdings" panose="05000000000000000000" pitchFamily="2" charset="2"/>
              <a:buNone/>
            </a:pPr>
            <a:endParaRPr lang="es-AR" altLang="es-AR" sz="1400">
              <a:solidFill>
                <a:srgbClr val="000066"/>
              </a:solidFill>
            </a:endParaRPr>
          </a:p>
          <a:p>
            <a:pPr eaLnBrk="1" hangingPunct="1">
              <a:buFont typeface="Wingdings" panose="05000000000000000000" pitchFamily="2" charset="2"/>
              <a:buNone/>
            </a:pPr>
            <a:endParaRPr lang="es-AR" altLang="es-AR">
              <a:solidFill>
                <a:srgbClr val="000066"/>
              </a:solidFill>
            </a:endParaRPr>
          </a:p>
          <a:p>
            <a:pPr algn="ctr" eaLnBrk="1" hangingPunct="1">
              <a:buFont typeface="Wingdings" panose="05000000000000000000" pitchFamily="2" charset="2"/>
              <a:buNone/>
            </a:pPr>
            <a:endParaRPr lang="es-AR" altLang="es-AR" sz="3600" i="1">
              <a:solidFill>
                <a:srgbClr val="000066"/>
              </a:solidFill>
            </a:endParaRPr>
          </a:p>
        </p:txBody>
      </p:sp>
      <p:sp>
        <p:nvSpPr>
          <p:cNvPr id="6147" name="2 Marcador de número de diapositiva"/>
          <p:cNvSpPr txBox="1">
            <a:spLocks noGrp="1"/>
          </p:cNvSpPr>
          <p:nvPr/>
        </p:nvSpPr>
        <p:spPr bwMode="auto">
          <a:xfrm>
            <a:off x="7772400" y="65119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29FCD19C-75FD-4456-A304-0E9E63180A3B}" type="slidenum">
              <a:rPr lang="es-ES_tradnl" altLang="es-AR" sz="1000" i="1">
                <a:solidFill>
                  <a:srgbClr val="000000"/>
                </a:solidFill>
                <a:latin typeface="Verdana" panose="020B0604030504040204" pitchFamily="34" charset="0"/>
              </a:rPr>
              <a:pPr algn="r" eaLnBrk="1" hangingPunct="1">
                <a:spcBef>
                  <a:spcPct val="0"/>
                </a:spcBef>
                <a:buFontTx/>
                <a:buNone/>
              </a:pPr>
              <a:t>4</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2"/>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E3AEEF13-38F1-4F2B-90E3-FE821D86F9F3}" type="slidenum">
              <a:rPr lang="fr-FR" altLang="es-AR" sz="1000" i="1">
                <a:solidFill>
                  <a:srgbClr val="000000"/>
                </a:solidFill>
                <a:latin typeface="Verdana" panose="020B0604030504040204" pitchFamily="34" charset="0"/>
              </a:rPr>
              <a:pPr algn="r" eaLnBrk="1" hangingPunct="1">
                <a:spcBef>
                  <a:spcPct val="0"/>
                </a:spcBef>
                <a:buFontTx/>
                <a:buNone/>
              </a:pPr>
              <a:t>5</a:t>
            </a:fld>
            <a:endParaRPr lang="fr-FR" altLang="es-AR" sz="1000" i="1">
              <a:solidFill>
                <a:srgbClr val="000000"/>
              </a:solidFill>
              <a:latin typeface="Verdana" panose="020B0604030504040204" pitchFamily="34" charset="0"/>
            </a:endParaRPr>
          </a:p>
        </p:txBody>
      </p:sp>
      <p:sp>
        <p:nvSpPr>
          <p:cNvPr id="7171" name="3 CuadroTexto"/>
          <p:cNvSpPr txBox="1">
            <a:spLocks noChangeArrowheads="1"/>
          </p:cNvSpPr>
          <p:nvPr/>
        </p:nvSpPr>
        <p:spPr bwMode="auto">
          <a:xfrm>
            <a:off x="1492250" y="1712913"/>
            <a:ext cx="7756525" cy="447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s-AR" altLang="es-AR" sz="2400">
                <a:solidFill>
                  <a:srgbClr val="000066"/>
                </a:solidFill>
              </a:rPr>
              <a:t>El CELU evalúa una lengua </a:t>
            </a:r>
            <a:r>
              <a:rPr lang="es-AR" altLang="es-AR" sz="2400" b="1">
                <a:solidFill>
                  <a:srgbClr val="000066"/>
                </a:solidFill>
              </a:rPr>
              <a:t>general, estándar y normalizada</a:t>
            </a:r>
            <a:r>
              <a:rPr lang="es-AR" altLang="es-AR" sz="2400">
                <a:solidFill>
                  <a:srgbClr val="000066"/>
                </a:solidFill>
              </a:rPr>
              <a:t>.</a:t>
            </a:r>
          </a:p>
          <a:p>
            <a:pPr eaLnBrk="1" hangingPunct="1">
              <a:spcBef>
                <a:spcPct val="0"/>
              </a:spcBef>
              <a:buFontTx/>
              <a:buNone/>
            </a:pPr>
            <a:endParaRPr lang="es-AR" altLang="es-AR" sz="2400">
              <a:solidFill>
                <a:srgbClr val="000066"/>
              </a:solidFill>
            </a:endParaRPr>
          </a:p>
          <a:p>
            <a:pPr eaLnBrk="1" hangingPunct="1">
              <a:spcBef>
                <a:spcPct val="0"/>
              </a:spcBef>
              <a:buClr>
                <a:srgbClr val="000066"/>
              </a:buClr>
              <a:buFont typeface="Wingdings" panose="05000000000000000000" pitchFamily="2" charset="2"/>
              <a:buChar char="§"/>
            </a:pPr>
            <a:r>
              <a:rPr lang="es-AR" altLang="es-AR" sz="2400">
                <a:solidFill>
                  <a:srgbClr val="000066"/>
                </a:solidFill>
              </a:rPr>
              <a:t>Es </a:t>
            </a:r>
            <a:r>
              <a:rPr lang="es-AR" altLang="es-AR" sz="2400" b="1">
                <a:solidFill>
                  <a:srgbClr val="000066"/>
                </a:solidFill>
              </a:rPr>
              <a:t>general</a:t>
            </a:r>
            <a:r>
              <a:rPr lang="es-AR" altLang="es-AR" sz="2400">
                <a:solidFill>
                  <a:srgbClr val="000066"/>
                </a:solidFill>
              </a:rPr>
              <a:t> porque no representa a ningún dialecto del español en particular;</a:t>
            </a:r>
          </a:p>
          <a:p>
            <a:pPr eaLnBrk="1" hangingPunct="1">
              <a:spcBef>
                <a:spcPct val="0"/>
              </a:spcBef>
              <a:buClr>
                <a:srgbClr val="000066"/>
              </a:buClr>
              <a:buFont typeface="Wingdings" panose="05000000000000000000" pitchFamily="2" charset="2"/>
              <a:buChar char="§"/>
            </a:pPr>
            <a:endParaRPr lang="es-AR" altLang="es-AR" sz="2400">
              <a:solidFill>
                <a:srgbClr val="000066"/>
              </a:solidFill>
            </a:endParaRPr>
          </a:p>
          <a:p>
            <a:pPr eaLnBrk="1" hangingPunct="1">
              <a:spcBef>
                <a:spcPct val="0"/>
              </a:spcBef>
              <a:buClr>
                <a:srgbClr val="000066"/>
              </a:buClr>
              <a:buFont typeface="Wingdings" panose="05000000000000000000" pitchFamily="2" charset="2"/>
              <a:buChar char="§"/>
            </a:pPr>
            <a:r>
              <a:rPr lang="es-AR" altLang="es-AR" sz="2400">
                <a:solidFill>
                  <a:srgbClr val="000066"/>
                </a:solidFill>
              </a:rPr>
              <a:t>Es </a:t>
            </a:r>
            <a:r>
              <a:rPr lang="es-AR" altLang="es-AR" sz="2400" b="1">
                <a:solidFill>
                  <a:srgbClr val="000066"/>
                </a:solidFill>
              </a:rPr>
              <a:t>estándar</a:t>
            </a:r>
            <a:r>
              <a:rPr lang="es-AR" altLang="es-AR" sz="2400">
                <a:solidFill>
                  <a:srgbClr val="000066"/>
                </a:solidFill>
              </a:rPr>
              <a:t> en el sentido de que la lengua de sus textos escritos no está marcada por variaciones de edad, género o clase sociocultural;</a:t>
            </a:r>
          </a:p>
          <a:p>
            <a:pPr eaLnBrk="1" hangingPunct="1">
              <a:spcBef>
                <a:spcPct val="0"/>
              </a:spcBef>
              <a:buClr>
                <a:srgbClr val="000066"/>
              </a:buClr>
              <a:buFont typeface="Wingdings" panose="05000000000000000000" pitchFamily="2" charset="2"/>
              <a:buChar char="§"/>
            </a:pPr>
            <a:endParaRPr lang="es-AR" altLang="es-AR" sz="2400">
              <a:solidFill>
                <a:srgbClr val="000066"/>
              </a:solidFill>
            </a:endParaRPr>
          </a:p>
          <a:p>
            <a:pPr eaLnBrk="1" hangingPunct="1">
              <a:spcBef>
                <a:spcPct val="0"/>
              </a:spcBef>
              <a:buClr>
                <a:srgbClr val="000066"/>
              </a:buClr>
              <a:buFont typeface="Wingdings" panose="05000000000000000000" pitchFamily="2" charset="2"/>
              <a:buChar char="§"/>
            </a:pPr>
            <a:r>
              <a:rPr lang="es-AR" altLang="es-AR" sz="2400">
                <a:solidFill>
                  <a:srgbClr val="000066"/>
                </a:solidFill>
              </a:rPr>
              <a:t>Es </a:t>
            </a:r>
            <a:r>
              <a:rPr lang="es-AR" altLang="es-AR" sz="2400" b="1">
                <a:solidFill>
                  <a:srgbClr val="000066"/>
                </a:solidFill>
              </a:rPr>
              <a:t>normalizada</a:t>
            </a:r>
            <a:r>
              <a:rPr lang="es-AR" altLang="es-AR" sz="2400">
                <a:solidFill>
                  <a:srgbClr val="000066"/>
                </a:solidFill>
              </a:rPr>
              <a:t>  porque el uso adecuado de la gramática y de la pragmática de la lengua son criterios de evaluación del desempeño de los candidatos.</a:t>
            </a:r>
          </a:p>
        </p:txBody>
      </p:sp>
      <p:sp>
        <p:nvSpPr>
          <p:cNvPr id="5" name="Rectangle 5"/>
          <p:cNvSpPr txBox="1">
            <a:spLocks noChangeArrowheads="1"/>
          </p:cNvSpPr>
          <p:nvPr/>
        </p:nvSpPr>
        <p:spPr>
          <a:xfrm>
            <a:off x="1695450" y="314325"/>
            <a:ext cx="6154738" cy="1133475"/>
          </a:xfrm>
          <a:prstGeom prst="rect">
            <a:avLst/>
          </a:prstGeom>
        </p:spPr>
        <p:txBody>
          <a:bodyPr/>
          <a:lstStyle/>
          <a:p>
            <a:pPr algn="ctr">
              <a:defRPr/>
            </a:pPr>
            <a:r>
              <a:rPr lang="es-ES_tradnl" sz="4000" b="1" dirty="0">
                <a:solidFill>
                  <a:srgbClr val="000066"/>
                </a:solidFill>
                <a:latin typeface="+mn-lt"/>
                <a:ea typeface="+mj-ea"/>
                <a:cs typeface="+mj-cs"/>
              </a:rPr>
              <a:t>¿Qué evalúa el examen?</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5"/>
          <p:cNvSpPr>
            <a:spLocks noGrp="1" noChangeArrowheads="1"/>
          </p:cNvSpPr>
          <p:nvPr>
            <p:ph type="title" idx="4294967295"/>
          </p:nvPr>
        </p:nvSpPr>
        <p:spPr>
          <a:xfrm>
            <a:off x="0" y="20638"/>
            <a:ext cx="8915400" cy="1143000"/>
          </a:xfrm>
        </p:spPr>
        <p:txBody>
          <a:bodyPr/>
          <a:lstStyle/>
          <a:p>
            <a:pPr eaLnBrk="1" hangingPunct="1">
              <a:defRPr/>
            </a:pPr>
            <a:r>
              <a:rPr lang="es-ES_tradnl" altLang="es-ES_tradnl" dirty="0">
                <a:solidFill>
                  <a:srgbClr val="000066"/>
                </a:solidFill>
                <a:latin typeface="+mn-lt"/>
              </a:rPr>
              <a:t>¿Qué es el CELU? </a:t>
            </a:r>
          </a:p>
        </p:txBody>
      </p:sp>
      <p:sp>
        <p:nvSpPr>
          <p:cNvPr id="8195" name="Rectangle 3"/>
          <p:cNvSpPr>
            <a:spLocks noGrp="1" noChangeArrowheads="1"/>
          </p:cNvSpPr>
          <p:nvPr>
            <p:ph sz="half" idx="4294967295"/>
          </p:nvPr>
        </p:nvSpPr>
        <p:spPr>
          <a:xfrm>
            <a:off x="2968625" y="1482725"/>
            <a:ext cx="6394450" cy="1247775"/>
          </a:xfrm>
        </p:spPr>
        <p:txBody>
          <a:bodyPr/>
          <a:lstStyle/>
          <a:p>
            <a:pPr marL="0" indent="0" algn="ctr" eaLnBrk="1" hangingPunct="1">
              <a:buFont typeface="Wingdings" panose="05000000000000000000" pitchFamily="2" charset="2"/>
              <a:buNone/>
            </a:pPr>
            <a:r>
              <a:rPr lang="es-ES_tradnl" altLang="es-AR" sz="2000" b="1">
                <a:solidFill>
                  <a:srgbClr val="000066"/>
                </a:solidFill>
              </a:rPr>
              <a:t>El CELU es una constancia de la capacidad de usar adecuadamente la lengua en ámbitos y situaciones similares a las que se enfrentan estudiantes y profesionales en general.</a:t>
            </a:r>
          </a:p>
        </p:txBody>
      </p:sp>
      <p:sp>
        <p:nvSpPr>
          <p:cNvPr id="8196" name="Slide Number Placeholder 2"/>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52C32A71-9AA9-47F9-9EDA-027EBCD93D29}" type="slidenum">
              <a:rPr lang="fr-FR" altLang="es-AR" sz="1000" i="1">
                <a:solidFill>
                  <a:srgbClr val="000000"/>
                </a:solidFill>
                <a:latin typeface="Verdana" panose="020B0604030504040204" pitchFamily="34" charset="0"/>
              </a:rPr>
              <a:pPr algn="r" eaLnBrk="1" hangingPunct="1">
                <a:spcBef>
                  <a:spcPct val="0"/>
                </a:spcBef>
                <a:buFontTx/>
                <a:buNone/>
              </a:pPr>
              <a:t>6</a:t>
            </a:fld>
            <a:endParaRPr lang="fr-FR" altLang="es-AR" sz="1000" i="1">
              <a:solidFill>
                <a:srgbClr val="000000"/>
              </a:solidFill>
              <a:latin typeface="Verdana" panose="020B0604030504040204" pitchFamily="34" charset="0"/>
            </a:endParaRPr>
          </a:p>
        </p:txBody>
      </p:sp>
      <p:pic>
        <p:nvPicPr>
          <p:cNvPr id="8197" name="Image 7" descr="DSCN9627.JPG.pdf"/>
          <p:cNvPicPr>
            <a:picLocks noChangeAspect="1"/>
          </p:cNvPicPr>
          <p:nvPr/>
        </p:nvPicPr>
        <p:blipFill>
          <a:blip r:embed="rId3" cstate="print">
            <a:extLst>
              <a:ext uri="{28A0092B-C50C-407E-A947-70E740481C1C}">
                <a14:useLocalDpi xmlns="" xmlns:a14="http://schemas.microsoft.com/office/drawing/2010/main" val="0"/>
              </a:ext>
            </a:extLst>
          </a:blip>
          <a:srcRect t="23973" b="20888"/>
          <a:stretch>
            <a:fillRect/>
          </a:stretch>
        </p:blipFill>
        <p:spPr bwMode="auto">
          <a:xfrm>
            <a:off x="4954588" y="3200400"/>
            <a:ext cx="4856162" cy="3657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98" name="Image 6" descr="DSC05636.JPG.pdf"/>
          <p:cNvPicPr>
            <a:picLocks noChangeAspect="1"/>
          </p:cNvPicPr>
          <p:nvPr/>
        </p:nvPicPr>
        <p:blipFill>
          <a:blip r:embed="rId4" cstate="print">
            <a:extLst>
              <a:ext uri="{28A0092B-C50C-407E-A947-70E740481C1C}">
                <a14:useLocalDpi xmlns="" xmlns:a14="http://schemas.microsoft.com/office/drawing/2010/main" val="0"/>
              </a:ext>
            </a:extLst>
          </a:blip>
          <a:srcRect b="24263"/>
          <a:stretch>
            <a:fillRect/>
          </a:stretch>
        </p:blipFill>
        <p:spPr bwMode="auto">
          <a:xfrm>
            <a:off x="239713" y="1163638"/>
            <a:ext cx="4854575" cy="56943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64015417-9BFD-4E0F-B682-20EE56E749A1}" type="slidenum">
              <a:rPr lang="es-ES_tradnl" altLang="es-AR" sz="1000" i="1">
                <a:solidFill>
                  <a:srgbClr val="000000"/>
                </a:solidFill>
                <a:latin typeface="Verdana" panose="020B0604030504040204" pitchFamily="34" charset="0"/>
              </a:rPr>
              <a:pPr algn="r" eaLnBrk="1" hangingPunct="1">
                <a:spcBef>
                  <a:spcPct val="0"/>
                </a:spcBef>
                <a:buFontTx/>
                <a:buNone/>
              </a:pPr>
              <a:t>7</a:t>
            </a:fld>
            <a:endParaRPr lang="es-ES_tradnl" altLang="es-AR" sz="1000" i="1">
              <a:solidFill>
                <a:srgbClr val="000000"/>
              </a:solidFill>
              <a:latin typeface="Verdana" panose="020B0604030504040204" pitchFamily="34" charset="0"/>
            </a:endParaRPr>
          </a:p>
        </p:txBody>
      </p:sp>
      <p:sp>
        <p:nvSpPr>
          <p:cNvPr id="9219" name="Rectangle 2"/>
          <p:cNvSpPr>
            <a:spLocks noGrp="1" noChangeArrowheads="1"/>
          </p:cNvSpPr>
          <p:nvPr>
            <p:ph type="title" idx="4294967295"/>
          </p:nvPr>
        </p:nvSpPr>
        <p:spPr>
          <a:xfrm>
            <a:off x="0" y="115888"/>
            <a:ext cx="8086725" cy="633412"/>
          </a:xfrm>
        </p:spPr>
        <p:txBody>
          <a:bodyPr/>
          <a:lstStyle/>
          <a:p>
            <a:pPr eaLnBrk="1" hangingPunct="1"/>
            <a:r>
              <a:rPr lang="es-ES_tradnl" altLang="es-AR"/>
              <a:t> </a:t>
            </a:r>
          </a:p>
        </p:txBody>
      </p:sp>
      <p:sp>
        <p:nvSpPr>
          <p:cNvPr id="9220" name="Rectangle 5"/>
          <p:cNvSpPr>
            <a:spLocks noChangeArrowheads="1"/>
          </p:cNvSpPr>
          <p:nvPr/>
        </p:nvSpPr>
        <p:spPr bwMode="auto">
          <a:xfrm>
            <a:off x="1931988" y="6308725"/>
            <a:ext cx="6692900" cy="4222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marL="177800" indent="-177800"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s-ES_tradnl" altLang="es-AR" sz="1200">
                <a:solidFill>
                  <a:srgbClr val="000066"/>
                </a:solidFill>
                <a:latin typeface="Verdana" panose="020B0604030504040204" pitchFamily="34" charset="0"/>
              </a:rPr>
              <a:t>*	Scaramucci, 2003.</a:t>
            </a:r>
          </a:p>
        </p:txBody>
      </p:sp>
      <p:sp>
        <p:nvSpPr>
          <p:cNvPr id="10245" name="Rectangle 6"/>
          <p:cNvSpPr>
            <a:spLocks noChangeArrowheads="1"/>
          </p:cNvSpPr>
          <p:nvPr/>
        </p:nvSpPr>
        <p:spPr bwMode="auto">
          <a:xfrm>
            <a:off x="4503738" y="1778000"/>
            <a:ext cx="5065712" cy="1563688"/>
          </a:xfrm>
          <a:prstGeom prst="rect">
            <a:avLst/>
          </a:prstGeom>
          <a:noFill/>
          <a:ln>
            <a:noFill/>
          </a:ln>
          <a:extLst/>
        </p:spPr>
        <p:txBody>
          <a:bodyPr/>
          <a:lstStyle/>
          <a:p>
            <a:pPr marL="742950" lvl="1" indent="-285750">
              <a:lnSpc>
                <a:spcPct val="120000"/>
              </a:lnSpc>
              <a:spcBef>
                <a:spcPct val="50000"/>
              </a:spcBef>
              <a:buClr>
                <a:srgbClr val="003399"/>
              </a:buClr>
              <a:buFont typeface="Wingdings" pitchFamily="2" charset="2"/>
              <a:buChar char="§"/>
              <a:defRPr/>
            </a:pPr>
            <a:r>
              <a:rPr lang="es-ES_tradnl" sz="2000" b="1" dirty="0">
                <a:solidFill>
                  <a:srgbClr val="000066"/>
                </a:solidFill>
                <a:latin typeface="+mn-lt"/>
                <a:cs typeface="Arial" charset="0"/>
              </a:rPr>
              <a:t>En la vida real no hay niveles</a:t>
            </a:r>
            <a:r>
              <a:rPr lang="es-ES_tradnl" sz="2000" dirty="0">
                <a:solidFill>
                  <a:srgbClr val="000066"/>
                </a:solidFill>
                <a:latin typeface="+mn-lt"/>
                <a:cs typeface="Arial" charset="0"/>
              </a:rPr>
              <a:t>. “Todos los hablantes son capaces de enfrentar diferentes situaciones con mayor o menor éxito en su comunicación, según sus recursos lingüísticos y con mayor o menor ayuda de otros hablantes</a:t>
            </a:r>
            <a:r>
              <a:rPr lang="es-ES_tradnl" sz="1800" dirty="0">
                <a:cs typeface="Arial" charset="0"/>
              </a:rPr>
              <a:t>.”</a:t>
            </a:r>
          </a:p>
        </p:txBody>
      </p:sp>
      <p:sp>
        <p:nvSpPr>
          <p:cNvPr id="10246" name="Rectangle 7"/>
          <p:cNvSpPr>
            <a:spLocks noChangeArrowheads="1"/>
          </p:cNvSpPr>
          <p:nvPr/>
        </p:nvSpPr>
        <p:spPr bwMode="auto">
          <a:xfrm>
            <a:off x="4503738" y="4460875"/>
            <a:ext cx="5065712" cy="1563688"/>
          </a:xfrm>
          <a:prstGeom prst="rect">
            <a:avLst/>
          </a:prstGeom>
          <a:noFill/>
          <a:ln>
            <a:noFill/>
          </a:ln>
          <a:extLst/>
        </p:spPr>
        <p:txBody>
          <a:bodyPr/>
          <a:lstStyle/>
          <a:p>
            <a:pPr marL="742950" lvl="1" indent="-285750">
              <a:lnSpc>
                <a:spcPct val="120000"/>
              </a:lnSpc>
              <a:spcBef>
                <a:spcPct val="50000"/>
              </a:spcBef>
              <a:buClr>
                <a:srgbClr val="003399"/>
              </a:buClr>
              <a:buFont typeface="Wingdings" pitchFamily="2" charset="2"/>
              <a:buChar char="§"/>
              <a:defRPr/>
            </a:pPr>
            <a:r>
              <a:rPr lang="es-ES_tradnl" sz="2000" dirty="0">
                <a:solidFill>
                  <a:srgbClr val="000066"/>
                </a:solidFill>
                <a:latin typeface="+mn-lt"/>
                <a:cs typeface="Arial" charset="0"/>
              </a:rPr>
              <a:t>“</a:t>
            </a:r>
            <a:r>
              <a:rPr lang="es-ES_tradnl" sz="2000" b="1" dirty="0">
                <a:solidFill>
                  <a:srgbClr val="000066"/>
                </a:solidFill>
                <a:latin typeface="+mn-lt"/>
                <a:cs typeface="Arial" charset="0"/>
              </a:rPr>
              <a:t>Los diferentes niveles de logro</a:t>
            </a:r>
            <a:r>
              <a:rPr lang="es-ES_tradnl" sz="2000" dirty="0">
                <a:solidFill>
                  <a:srgbClr val="000066"/>
                </a:solidFill>
                <a:latin typeface="+mn-lt"/>
                <a:cs typeface="Arial" charset="0"/>
              </a:rPr>
              <a:t> muestran </a:t>
            </a:r>
            <a:r>
              <a:rPr lang="es-ES_tradnl" sz="2000" b="1" dirty="0">
                <a:solidFill>
                  <a:srgbClr val="000066"/>
                </a:solidFill>
                <a:latin typeface="+mn-lt"/>
                <a:cs typeface="Arial" charset="0"/>
              </a:rPr>
              <a:t>diferentes niveles de </a:t>
            </a:r>
            <a:r>
              <a:rPr lang="es-ES_tradnl" sz="2000" b="1" dirty="0" err="1">
                <a:solidFill>
                  <a:srgbClr val="000066"/>
                </a:solidFill>
                <a:latin typeface="+mn-lt"/>
                <a:cs typeface="Arial" charset="0"/>
              </a:rPr>
              <a:t>proficiencia</a:t>
            </a:r>
            <a:r>
              <a:rPr lang="es-ES_tradnl" sz="2000" dirty="0">
                <a:solidFill>
                  <a:srgbClr val="000066"/>
                </a:solidFill>
                <a:latin typeface="+mn-lt"/>
                <a:cs typeface="Arial" charset="0"/>
              </a:rPr>
              <a:t> en el uso de la lengua.”* </a:t>
            </a:r>
          </a:p>
        </p:txBody>
      </p:sp>
      <p:sp>
        <p:nvSpPr>
          <p:cNvPr id="10247" name="Rectangle 8"/>
          <p:cNvSpPr>
            <a:spLocks noChangeArrowheads="1"/>
          </p:cNvSpPr>
          <p:nvPr/>
        </p:nvSpPr>
        <p:spPr bwMode="auto">
          <a:xfrm>
            <a:off x="941388" y="3175000"/>
            <a:ext cx="3511550" cy="1190625"/>
          </a:xfrm>
          <a:prstGeom prst="rect">
            <a:avLst/>
          </a:prstGeom>
          <a:noFill/>
          <a:ln>
            <a:noFill/>
          </a:ln>
          <a:extLst/>
        </p:spPr>
        <p:txBody>
          <a:bodyPr anchor="ctr"/>
          <a:lstStyle/>
          <a:p>
            <a:pPr algn="ctr">
              <a:lnSpc>
                <a:spcPct val="120000"/>
              </a:lnSpc>
              <a:spcBef>
                <a:spcPct val="50000"/>
              </a:spcBef>
              <a:buClr>
                <a:schemeClr val="accent2"/>
              </a:buClr>
              <a:buSzPct val="80000"/>
              <a:buFont typeface="Wingdings" pitchFamily="2" charset="2"/>
              <a:buNone/>
              <a:defRPr/>
            </a:pPr>
            <a:r>
              <a:rPr lang="es-ES_tradnl" sz="2800" b="1" dirty="0">
                <a:solidFill>
                  <a:srgbClr val="002060"/>
                </a:solidFill>
                <a:latin typeface="+mn-lt"/>
                <a:cs typeface="Arial" charset="0"/>
              </a:rPr>
              <a:t>Un único examen de uso de la lengua</a:t>
            </a:r>
          </a:p>
        </p:txBody>
      </p:sp>
      <p:cxnSp>
        <p:nvCxnSpPr>
          <p:cNvPr id="9224" name="AutoShape 9"/>
          <p:cNvCxnSpPr>
            <a:cxnSpLocks noChangeShapeType="1"/>
            <a:stCxn id="10247" idx="0"/>
            <a:endCxn id="10245" idx="1"/>
          </p:cNvCxnSpPr>
          <p:nvPr/>
        </p:nvCxnSpPr>
        <p:spPr bwMode="auto">
          <a:xfrm rot="5400000" flipH="1" flipV="1">
            <a:off x="3293270" y="1964531"/>
            <a:ext cx="614362" cy="1806575"/>
          </a:xfrm>
          <a:prstGeom prst="bentConnector2">
            <a:avLst/>
          </a:prstGeom>
          <a:noFill/>
          <a:ln w="38100">
            <a:solidFill>
              <a:srgbClr val="002060"/>
            </a:solidFill>
            <a:miter lim="800000"/>
            <a:headEnd/>
            <a:tailEnd type="triangle" w="med" len="med"/>
          </a:ln>
          <a:extLst>
            <a:ext uri="{909E8E84-426E-40DD-AFC4-6F175D3DCCD1}">
              <a14:hiddenFill xmlns="" xmlns:a14="http://schemas.microsoft.com/office/drawing/2010/main">
                <a:noFill/>
              </a14:hiddenFill>
            </a:ext>
          </a:extLst>
        </p:spPr>
      </p:cxnSp>
      <p:cxnSp>
        <p:nvCxnSpPr>
          <p:cNvPr id="9225" name="AutoShape 12"/>
          <p:cNvCxnSpPr>
            <a:cxnSpLocks noChangeShapeType="1"/>
            <a:stCxn id="10246" idx="1"/>
            <a:endCxn id="10247" idx="2"/>
          </p:cNvCxnSpPr>
          <p:nvPr/>
        </p:nvCxnSpPr>
        <p:spPr bwMode="auto">
          <a:xfrm rot="10800000">
            <a:off x="2697163" y="4365625"/>
            <a:ext cx="1806575" cy="877888"/>
          </a:xfrm>
          <a:prstGeom prst="bentConnector2">
            <a:avLst/>
          </a:prstGeom>
          <a:noFill/>
          <a:ln w="38100">
            <a:solidFill>
              <a:srgbClr val="002060"/>
            </a:solidFill>
            <a:miter lim="800000"/>
            <a:headEnd/>
            <a:tailEnd type="triangle" w="med" len="med"/>
          </a:ln>
          <a:extLst>
            <a:ext uri="{909E8E84-426E-40DD-AFC4-6F175D3DCCD1}">
              <a14:hiddenFill xmlns="" xmlns:a14="http://schemas.microsoft.com/office/drawing/2010/main">
                <a:noFill/>
              </a14:hiddenFill>
            </a:ext>
          </a:extLst>
        </p:spPr>
      </p:cxnSp>
      <p:sp>
        <p:nvSpPr>
          <p:cNvPr id="21513" name="Rectangle 15"/>
          <p:cNvSpPr>
            <a:spLocks noChangeArrowheads="1"/>
          </p:cNvSpPr>
          <p:nvPr/>
        </p:nvSpPr>
        <p:spPr bwMode="auto">
          <a:xfrm>
            <a:off x="1425575" y="100013"/>
            <a:ext cx="7035800" cy="1046162"/>
          </a:xfrm>
          <a:prstGeom prst="rect">
            <a:avLst/>
          </a:prstGeom>
          <a:noFill/>
          <a:ln w="9525">
            <a:noFill/>
            <a:miter lim="800000"/>
            <a:headEnd/>
            <a:tailEnd/>
          </a:ln>
        </p:spPr>
        <p:txBody>
          <a:bodyPr anchor="ctr"/>
          <a:lstStyle/>
          <a:p>
            <a:pPr>
              <a:defRPr/>
            </a:pPr>
            <a:r>
              <a:rPr lang="es-ES_tradnl" sz="4000" b="1" dirty="0">
                <a:solidFill>
                  <a:srgbClr val="000066"/>
                </a:solidFill>
                <a:latin typeface="+mj-lt"/>
                <a:cs typeface="Arial" charset="0"/>
              </a:rPr>
              <a:t>Cómo se organiza el examen</a:t>
            </a:r>
          </a:p>
        </p:txBody>
      </p:sp>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1 Título"/>
          <p:cNvSpPr>
            <a:spLocks noGrp="1"/>
          </p:cNvSpPr>
          <p:nvPr>
            <p:ph type="title" idx="4294967295"/>
          </p:nvPr>
        </p:nvSpPr>
        <p:spPr>
          <a:xfrm>
            <a:off x="927100" y="82550"/>
            <a:ext cx="6935788" cy="1112838"/>
          </a:xfrm>
        </p:spPr>
        <p:txBody>
          <a:bodyPr/>
          <a:lstStyle/>
          <a:p>
            <a:pPr eaLnBrk="1" hangingPunct="1">
              <a:defRPr/>
            </a:pPr>
            <a:r>
              <a:rPr lang="es-ES" sz="4000" dirty="0">
                <a:solidFill>
                  <a:srgbClr val="000066"/>
                </a:solidFill>
                <a:latin typeface="+mj-lt"/>
              </a:rPr>
              <a:t>Es un examen “de desempeño”</a:t>
            </a:r>
            <a:endParaRPr lang="es-AR" sz="4000" dirty="0">
              <a:solidFill>
                <a:srgbClr val="000066"/>
              </a:solidFill>
              <a:latin typeface="+mj-lt"/>
            </a:endParaRPr>
          </a:p>
        </p:txBody>
      </p:sp>
      <p:sp>
        <p:nvSpPr>
          <p:cNvPr id="27651" name="Rectangle 3"/>
          <p:cNvSpPr>
            <a:spLocks noGrp="1" noChangeArrowheads="1"/>
          </p:cNvSpPr>
          <p:nvPr>
            <p:ph idx="4294967295"/>
          </p:nvPr>
        </p:nvSpPr>
        <p:spPr>
          <a:xfrm>
            <a:off x="1281113" y="1555750"/>
            <a:ext cx="8045450" cy="4525963"/>
          </a:xfrm>
          <a:solidFill>
            <a:schemeClr val="accent5">
              <a:lumMod val="40000"/>
              <a:lumOff val="60000"/>
            </a:schemeClr>
          </a:solidFill>
        </p:spPr>
        <p:txBody>
          <a:bodyPr/>
          <a:lstStyle/>
          <a:p>
            <a:pPr indent="0" eaLnBrk="1" hangingPunct="1">
              <a:lnSpc>
                <a:spcPct val="110000"/>
              </a:lnSpc>
              <a:buFont typeface="Wingdings" pitchFamily="2" charset="2"/>
              <a:buNone/>
              <a:defRPr/>
            </a:pPr>
            <a:r>
              <a:rPr lang="es-ES_tradnl" sz="2800" b="1" dirty="0">
                <a:solidFill>
                  <a:srgbClr val="002060"/>
                </a:solidFill>
              </a:rPr>
              <a:t>Lo que se prueba es que el hablante extranjero puede:</a:t>
            </a:r>
          </a:p>
          <a:p>
            <a:pPr indent="0" eaLnBrk="1" hangingPunct="1">
              <a:lnSpc>
                <a:spcPct val="110000"/>
              </a:lnSpc>
              <a:buFont typeface="Wingdings" pitchFamily="2" charset="2"/>
              <a:buNone/>
              <a:defRPr/>
            </a:pPr>
            <a:r>
              <a:rPr lang="es-ES_tradnl" sz="2800" dirty="0">
                <a:solidFill>
                  <a:srgbClr val="002060"/>
                </a:solidFill>
              </a:rPr>
              <a:t>leer, escribir, hablar e interactuar utilizando textos orales y escritos en situaciones cotidianas, laborales y académicas. </a:t>
            </a:r>
          </a:p>
          <a:p>
            <a:pPr indent="0" eaLnBrk="1" hangingPunct="1">
              <a:lnSpc>
                <a:spcPct val="110000"/>
              </a:lnSpc>
              <a:buFont typeface="Wingdings" pitchFamily="2" charset="2"/>
              <a:buNone/>
              <a:defRPr/>
            </a:pPr>
            <a:r>
              <a:rPr lang="es-ES_tradnl" sz="2800" b="1" dirty="0">
                <a:solidFill>
                  <a:srgbClr val="002060"/>
                </a:solidFill>
              </a:rPr>
              <a:t>No necesita demostrar separadamente su conocimiento de la gramática o de la terminología.</a:t>
            </a:r>
          </a:p>
          <a:p>
            <a:pPr indent="0" eaLnBrk="1" hangingPunct="1">
              <a:lnSpc>
                <a:spcPct val="110000"/>
              </a:lnSpc>
              <a:buFont typeface="Wingdings" pitchFamily="2" charset="2"/>
              <a:buNone/>
              <a:defRPr/>
            </a:pPr>
            <a:r>
              <a:rPr lang="es-ES_tradnl" sz="2800" b="1" dirty="0">
                <a:solidFill>
                  <a:srgbClr val="002060"/>
                </a:solidFill>
              </a:rPr>
              <a:t>No necesita llenar blancos o recordar palabras aisladas.</a:t>
            </a:r>
          </a:p>
          <a:p>
            <a:pPr indent="0" algn="r" eaLnBrk="1" hangingPunct="1">
              <a:lnSpc>
                <a:spcPct val="110000"/>
              </a:lnSpc>
              <a:buFont typeface="Wingdings" pitchFamily="2" charset="2"/>
              <a:buNone/>
              <a:defRPr/>
            </a:pPr>
            <a:r>
              <a:rPr lang="es-ES_tradnl" sz="2400" b="1" i="1" dirty="0">
                <a:solidFill>
                  <a:srgbClr val="000066"/>
                </a:solidFill>
              </a:rPr>
              <a:t>(ejemplos de actividades en www.celu.edu.ar)</a:t>
            </a:r>
          </a:p>
          <a:p>
            <a:pPr eaLnBrk="1" hangingPunct="1">
              <a:lnSpc>
                <a:spcPct val="110000"/>
              </a:lnSpc>
              <a:buFont typeface="Wingdings" pitchFamily="2" charset="2"/>
              <a:buNone/>
              <a:defRPr/>
            </a:pPr>
            <a:endParaRPr lang="es-ES_tradnl" dirty="0"/>
          </a:p>
          <a:p>
            <a:pPr eaLnBrk="1" hangingPunct="1">
              <a:lnSpc>
                <a:spcPct val="110000"/>
              </a:lnSpc>
              <a:buFont typeface="Wingdings" pitchFamily="2" charset="2"/>
              <a:buNone/>
              <a:defRPr/>
            </a:pPr>
            <a:endParaRPr lang="es-ES" dirty="0"/>
          </a:p>
        </p:txBody>
      </p:sp>
      <p:sp>
        <p:nvSpPr>
          <p:cNvPr id="10244" name="2 Marcador de número de diapositiva"/>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85E4CBAA-4436-4F6B-A761-14ED3596A9AC}" type="slidenum">
              <a:rPr lang="es-ES_tradnl" altLang="es-AR" sz="1000" i="1">
                <a:solidFill>
                  <a:srgbClr val="000000"/>
                </a:solidFill>
                <a:latin typeface="Verdana" panose="020B0604030504040204" pitchFamily="34" charset="0"/>
              </a:rPr>
              <a:pPr algn="r" eaLnBrk="1" hangingPunct="1">
                <a:spcBef>
                  <a:spcPct val="0"/>
                </a:spcBef>
                <a:buFontTx/>
                <a:buNone/>
              </a:pPr>
              <a:t>8</a:t>
            </a:fld>
            <a:endParaRPr lang="es-ES_tradnl" altLang="es-AR" sz="1000" i="1">
              <a:solidFill>
                <a:srgbClr val="000000"/>
              </a:solidFill>
              <a:latin typeface="Verdana" panose="020B060403050404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Espace réservé du numéro de diapositive 3"/>
          <p:cNvSpPr txBox="1">
            <a:spLocks noGrp="1"/>
          </p:cNvSpPr>
          <p:nvPr/>
        </p:nvSpPr>
        <p:spPr bwMode="auto">
          <a:xfrm>
            <a:off x="7772400" y="6524625"/>
            <a:ext cx="2133600"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09CB9C36-F8F1-4551-B9F9-1A484DC1F06A}" type="slidenum">
              <a:rPr lang="es-ES_tradnl" altLang="es-AR" sz="1000" i="1">
                <a:solidFill>
                  <a:srgbClr val="000000"/>
                </a:solidFill>
                <a:latin typeface="Verdana" panose="020B0604030504040204" pitchFamily="34" charset="0"/>
              </a:rPr>
              <a:pPr algn="r" eaLnBrk="1" hangingPunct="1">
                <a:spcBef>
                  <a:spcPct val="0"/>
                </a:spcBef>
                <a:buFontTx/>
                <a:buNone/>
              </a:pPr>
              <a:t>9</a:t>
            </a:fld>
            <a:endParaRPr lang="es-ES_tradnl" altLang="es-AR" sz="1000" i="1">
              <a:solidFill>
                <a:srgbClr val="000000"/>
              </a:solidFill>
              <a:latin typeface="Verdana" panose="020B0604030504040204" pitchFamily="34" charset="0"/>
            </a:endParaRPr>
          </a:p>
        </p:txBody>
      </p:sp>
      <p:sp>
        <p:nvSpPr>
          <p:cNvPr id="23554" name="Rectangle 2"/>
          <p:cNvSpPr>
            <a:spLocks noGrp="1" noChangeArrowheads="1"/>
          </p:cNvSpPr>
          <p:nvPr>
            <p:ph type="title" idx="4294967295"/>
          </p:nvPr>
        </p:nvSpPr>
        <p:spPr>
          <a:xfrm>
            <a:off x="1963738" y="317500"/>
            <a:ext cx="5972175" cy="633413"/>
          </a:xfrm>
        </p:spPr>
        <p:txBody>
          <a:bodyPr/>
          <a:lstStyle/>
          <a:p>
            <a:pPr eaLnBrk="1" hangingPunct="1">
              <a:defRPr/>
            </a:pPr>
            <a:r>
              <a:rPr lang="es-ES_tradnl" sz="4000" dirty="0">
                <a:solidFill>
                  <a:srgbClr val="000066"/>
                </a:solidFill>
                <a:latin typeface="+mn-lt"/>
              </a:rPr>
              <a:t>Un único examen</a:t>
            </a:r>
          </a:p>
        </p:txBody>
      </p:sp>
      <p:sp>
        <p:nvSpPr>
          <p:cNvPr id="10244" name="Rectangle 3"/>
          <p:cNvSpPr>
            <a:spLocks noGrp="1" noChangeArrowheads="1"/>
          </p:cNvSpPr>
          <p:nvPr>
            <p:ph type="body" idx="4294967295"/>
          </p:nvPr>
        </p:nvSpPr>
        <p:spPr>
          <a:xfrm>
            <a:off x="1196975" y="3689350"/>
            <a:ext cx="4154488" cy="2232025"/>
          </a:xfrm>
        </p:spPr>
        <p:txBody>
          <a:bodyPr anchor="ctr"/>
          <a:lstStyle/>
          <a:p>
            <a:pPr algn="ctr" eaLnBrk="1" hangingPunct="1">
              <a:buFont typeface="Wingdings" pitchFamily="2" charset="2"/>
              <a:buNone/>
              <a:defRPr/>
            </a:pPr>
            <a:r>
              <a:rPr lang="es-ES_tradnl" b="1" dirty="0">
                <a:solidFill>
                  <a:srgbClr val="000066"/>
                </a:solidFill>
                <a:effectLst>
                  <a:outerShdw blurRad="38100" dist="38100" dir="2700000" algn="tl">
                    <a:srgbClr val="000000">
                      <a:alpha val="43137"/>
                    </a:srgbClr>
                  </a:outerShdw>
                </a:effectLst>
              </a:rPr>
              <a:t>Un solo examen </a:t>
            </a:r>
            <a:r>
              <a:rPr lang="es-ES_tradnl" b="1" dirty="0">
                <a:solidFill>
                  <a:srgbClr val="000066"/>
                </a:solidFill>
              </a:rPr>
              <a:t>para todos los candidatos    que </a:t>
            </a:r>
            <a:r>
              <a:rPr lang="es-ES_tradnl" b="1" dirty="0">
                <a:solidFill>
                  <a:srgbClr val="000066"/>
                </a:solidFill>
                <a:effectLst>
                  <a:outerShdw blurRad="38100" dist="38100" dir="2700000" algn="tl">
                    <a:srgbClr val="000000">
                      <a:alpha val="43137"/>
                    </a:srgbClr>
                  </a:outerShdw>
                </a:effectLst>
              </a:rPr>
              <a:t>certifica niveles de desempeño </a:t>
            </a:r>
          </a:p>
        </p:txBody>
      </p:sp>
      <p:sp>
        <p:nvSpPr>
          <p:cNvPr id="5" name="Rectangle 3"/>
          <p:cNvSpPr txBox="1">
            <a:spLocks noChangeArrowheads="1"/>
          </p:cNvSpPr>
          <p:nvPr/>
        </p:nvSpPr>
        <p:spPr bwMode="auto">
          <a:xfrm>
            <a:off x="1017588" y="1547813"/>
            <a:ext cx="8667750" cy="1671637"/>
          </a:xfrm>
          <a:prstGeom prst="rect">
            <a:avLst/>
          </a:prstGeom>
          <a:noFill/>
          <a:ln w="9525">
            <a:noFill/>
            <a:miter lim="800000"/>
            <a:headEnd/>
            <a:tailEnd/>
          </a:ln>
        </p:spPr>
        <p:txBody>
          <a:bodyPr/>
          <a:lstStyle/>
          <a:p>
            <a:pPr algn="ctr">
              <a:lnSpc>
                <a:spcPct val="120000"/>
              </a:lnSpc>
              <a:spcBef>
                <a:spcPct val="50000"/>
              </a:spcBef>
              <a:buClr>
                <a:schemeClr val="accent2"/>
              </a:buClr>
              <a:buSzPct val="80000"/>
              <a:buFont typeface="Wingdings" pitchFamily="2" charset="2"/>
              <a:buNone/>
              <a:defRPr/>
            </a:pPr>
            <a:r>
              <a:rPr lang="es-ES_tradnl" sz="2400" b="1" kern="0" dirty="0">
                <a:solidFill>
                  <a:srgbClr val="000066"/>
                </a:solidFill>
                <a:latin typeface="+mn-lt"/>
                <a:cs typeface="+mn-cs"/>
              </a:rPr>
              <a:t>Con mayores o menores recursos lingüísticos, con mayor o menor ayuda de otros hablantes, un estudiante o un profesional extranjero tiene que desempeñarse en la vida cotidiana. </a:t>
            </a:r>
          </a:p>
        </p:txBody>
      </p:sp>
      <p:sp>
        <p:nvSpPr>
          <p:cNvPr id="10" name="Rectangle 3"/>
          <p:cNvSpPr txBox="1">
            <a:spLocks noChangeArrowheads="1"/>
          </p:cNvSpPr>
          <p:nvPr/>
        </p:nvSpPr>
        <p:spPr bwMode="auto">
          <a:xfrm>
            <a:off x="6210300" y="3532188"/>
            <a:ext cx="3251200" cy="1039812"/>
          </a:xfrm>
          <a:prstGeom prst="rect">
            <a:avLst/>
          </a:prstGeom>
          <a:noFill/>
          <a:ln>
            <a:noFill/>
          </a:ln>
          <a:extLst/>
        </p:spPr>
        <p:txBody>
          <a:bodyPr anchor="ct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eaLnBrk="1" hangingPunct="1">
              <a:buFont typeface="Wingdings" pitchFamily="2" charset="2"/>
              <a:buNone/>
              <a:defRPr/>
            </a:pPr>
            <a:r>
              <a:rPr lang="es-ES_tradnl" b="1" dirty="0">
                <a:solidFill>
                  <a:srgbClr val="000066"/>
                </a:solidFill>
                <a:effectLst>
                  <a:outerShdw blurRad="38100" dist="38100" dir="2700000" algn="tl">
                    <a:srgbClr val="000000">
                      <a:alpha val="43137"/>
                    </a:srgbClr>
                  </a:outerShdw>
                </a:effectLst>
              </a:rPr>
              <a:t>Intermedio</a:t>
            </a:r>
          </a:p>
          <a:p>
            <a:pPr algn="ctr" eaLnBrk="1" hangingPunct="1">
              <a:buFont typeface="Wingdings" pitchFamily="2" charset="2"/>
              <a:buNone/>
              <a:defRPr/>
            </a:pPr>
            <a:r>
              <a:rPr lang="es-ES_tradnl" sz="1800" b="1" dirty="0">
                <a:solidFill>
                  <a:srgbClr val="000066"/>
                </a:solidFill>
              </a:rPr>
              <a:t>bueno, muy bueno, excelente</a:t>
            </a:r>
          </a:p>
        </p:txBody>
      </p:sp>
      <p:sp>
        <p:nvSpPr>
          <p:cNvPr id="11" name="Rectangle 3"/>
          <p:cNvSpPr txBox="1">
            <a:spLocks noChangeArrowheads="1"/>
          </p:cNvSpPr>
          <p:nvPr/>
        </p:nvSpPr>
        <p:spPr bwMode="auto">
          <a:xfrm>
            <a:off x="6210300" y="5038725"/>
            <a:ext cx="3251200" cy="1039813"/>
          </a:xfrm>
          <a:prstGeom prst="rect">
            <a:avLst/>
          </a:prstGeom>
          <a:noFill/>
          <a:ln>
            <a:noFill/>
          </a:ln>
          <a:extLst/>
        </p:spPr>
        <p:txBody>
          <a:bodyPr anchor="ct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eaLnBrk="1" hangingPunct="1">
              <a:buFont typeface="Wingdings" pitchFamily="2" charset="2"/>
              <a:buNone/>
              <a:defRPr/>
            </a:pPr>
            <a:r>
              <a:rPr lang="es-ES_tradnl" b="1" dirty="0">
                <a:solidFill>
                  <a:srgbClr val="000066"/>
                </a:solidFill>
                <a:effectLst>
                  <a:outerShdw blurRad="38100" dist="38100" dir="2700000" algn="tl">
                    <a:srgbClr val="000000">
                      <a:alpha val="43137"/>
                    </a:srgbClr>
                  </a:outerShdw>
                </a:effectLst>
              </a:rPr>
              <a:t>Avanzado</a:t>
            </a:r>
          </a:p>
          <a:p>
            <a:pPr algn="ctr" eaLnBrk="1" hangingPunct="1">
              <a:buFont typeface="Wingdings" pitchFamily="2" charset="2"/>
              <a:buNone/>
              <a:defRPr/>
            </a:pPr>
            <a:r>
              <a:rPr lang="es-ES_tradnl" sz="1800" b="1" dirty="0">
                <a:solidFill>
                  <a:srgbClr val="000066"/>
                </a:solidFill>
              </a:rPr>
              <a:t>bueno, muy bueno, excelente</a:t>
            </a:r>
          </a:p>
        </p:txBody>
      </p:sp>
      <p:cxnSp>
        <p:nvCxnSpPr>
          <p:cNvPr id="4" name="3 Conector angular"/>
          <p:cNvCxnSpPr>
            <a:stCxn id="10244" idx="3"/>
            <a:endCxn id="10" idx="1"/>
          </p:cNvCxnSpPr>
          <p:nvPr/>
        </p:nvCxnSpPr>
        <p:spPr>
          <a:xfrm flipV="1">
            <a:off x="5351463" y="4051300"/>
            <a:ext cx="858837" cy="754063"/>
          </a:xfrm>
          <a:prstGeom prst="bentConnector3">
            <a:avLst>
              <a:gd name="adj1" fmla="val 50000"/>
            </a:avLst>
          </a:prstGeom>
          <a:ln w="57150">
            <a:solidFill>
              <a:srgbClr val="00006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18 Conector angular"/>
          <p:cNvCxnSpPr>
            <a:stCxn id="10244" idx="3"/>
            <a:endCxn id="11" idx="1"/>
          </p:cNvCxnSpPr>
          <p:nvPr/>
        </p:nvCxnSpPr>
        <p:spPr>
          <a:xfrm>
            <a:off x="5351463" y="4805363"/>
            <a:ext cx="858837" cy="754062"/>
          </a:xfrm>
          <a:prstGeom prst="bentConnector3">
            <a:avLst/>
          </a:prstGeom>
          <a:ln w="57150">
            <a:solidFill>
              <a:srgbClr val="00006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heme/theme1.xml><?xml version="1.0" encoding="utf-8"?>
<a:theme xmlns:a="http://schemas.openxmlformats.org/drawingml/2006/main" name="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a1</Template>
  <TotalTime>5396</TotalTime>
  <Words>2392</Words>
  <Application>Microsoft Office PowerPoint</Application>
  <PresentationFormat>Papel A4 (210 x 297 mm)</PresentationFormat>
  <Paragraphs>373</Paragraphs>
  <Slides>36</Slides>
  <Notes>25</Notes>
  <HiddenSlides>0</HiddenSlides>
  <MMClips>0</MMClips>
  <ScaleCrop>false</ScaleCrop>
  <HeadingPairs>
    <vt:vector size="4" baseType="variant">
      <vt:variant>
        <vt:lpstr>Tema</vt:lpstr>
      </vt:variant>
      <vt:variant>
        <vt:i4>1</vt:i4>
      </vt:variant>
      <vt:variant>
        <vt:lpstr>Títulos de slides</vt:lpstr>
      </vt:variant>
      <vt:variant>
        <vt:i4>36</vt:i4>
      </vt:variant>
    </vt:vector>
  </HeadingPairs>
  <TitlesOfParts>
    <vt:vector size="37" baseType="lpstr">
      <vt:lpstr>Tema1</vt:lpstr>
      <vt:lpstr>Slide 1</vt:lpstr>
      <vt:lpstr>Slide 2</vt:lpstr>
      <vt:lpstr>Slide 3</vt:lpstr>
      <vt:lpstr>Slide 4</vt:lpstr>
      <vt:lpstr>Slide 5</vt:lpstr>
      <vt:lpstr>¿Qué es el CELU? </vt:lpstr>
      <vt:lpstr> </vt:lpstr>
      <vt:lpstr>Es un examen “de desempeño”</vt:lpstr>
      <vt:lpstr>Un único examen</vt:lpstr>
      <vt:lpstr>Los niveles</vt:lpstr>
      <vt:lpstr>¿Cómo es el examen? </vt:lpstr>
      <vt:lpstr>¿Qué hay que hacer?  Ejemplos de propuestas</vt:lpstr>
      <vt:lpstr>Partes del examen</vt:lpstr>
      <vt:lpstr>Slide 14</vt:lpstr>
      <vt:lpstr>Un ejemplo de actividad escrita</vt:lpstr>
      <vt:lpstr>Qué se espera del candidato en la sección escrita</vt:lpstr>
      <vt:lpstr>Un ejemplo de actividad oral </vt:lpstr>
      <vt:lpstr>Slide 18</vt:lpstr>
      <vt:lpstr>Slide 19</vt:lpstr>
      <vt:lpstr>Slide 20</vt:lpstr>
      <vt:lpstr>Los resultados</vt:lpstr>
      <vt:lpstr>El certificado</vt:lpstr>
      <vt:lpstr>Slide 23</vt:lpstr>
      <vt:lpstr>Slide 24</vt:lpstr>
      <vt:lpstr>Validez y reconocimiento</vt:lpstr>
      <vt:lpstr>Miembros del consorcio ELSE Sedes del examen Requisitos de los candidatos Inscripción y pagos</vt:lpstr>
      <vt:lpstr>       ¿Quiénes participan? </vt:lpstr>
      <vt:lpstr>Slide 28</vt:lpstr>
      <vt:lpstr>Slide 29</vt:lpstr>
      <vt:lpstr>Sedes del CELU en Argentina Región Sur</vt:lpstr>
      <vt:lpstr>Sedes del CELU en Brasil</vt:lpstr>
      <vt:lpstr>Sedes del CELU en Europa</vt:lpstr>
      <vt:lpstr>Sedes del CELU en Asia</vt:lpstr>
      <vt:lpstr>¿Quiénes pueden rendirlo?</vt:lpstr>
      <vt:lpstr>Inscripción, aranceles y formas de pago</vt:lpstr>
      <vt:lpstr>Inscripción, consultas e informe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a Principi</dc:creator>
  <cp:lastModifiedBy>ceciliaa</cp:lastModifiedBy>
  <cp:revision>680</cp:revision>
  <dcterms:created xsi:type="dcterms:W3CDTF">1601-01-01T00:00:00Z</dcterms:created>
  <dcterms:modified xsi:type="dcterms:W3CDTF">2017-05-23T16:32:01Z</dcterms:modified>
</cp:coreProperties>
</file>